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ink/ink14.xml" ContentType="application/inkml+xml"/>
  <Override PartName="/ppt/notesSlides/notesSlide16.xml" ContentType="application/vnd.openxmlformats-officedocument.presentationml.notesSlide+xml"/>
  <Override PartName="/ppt/ink/ink15.xml" ContentType="application/inkml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95" r:id="rId4"/>
  </p:sldMasterIdLst>
  <p:notesMasterIdLst>
    <p:notesMasterId r:id="rId63"/>
  </p:notesMasterIdLst>
  <p:handoutMasterIdLst>
    <p:handoutMasterId r:id="rId64"/>
  </p:handoutMasterIdLst>
  <p:sldIdLst>
    <p:sldId id="422" r:id="rId5"/>
    <p:sldId id="394" r:id="rId6"/>
    <p:sldId id="264" r:id="rId7"/>
    <p:sldId id="423" r:id="rId8"/>
    <p:sldId id="421" r:id="rId9"/>
    <p:sldId id="437" r:id="rId10"/>
    <p:sldId id="455" r:id="rId11"/>
    <p:sldId id="436" r:id="rId12"/>
    <p:sldId id="424" r:id="rId13"/>
    <p:sldId id="393" r:id="rId14"/>
    <p:sldId id="404" r:id="rId15"/>
    <p:sldId id="401" r:id="rId16"/>
    <p:sldId id="425" r:id="rId17"/>
    <p:sldId id="426" r:id="rId18"/>
    <p:sldId id="433" r:id="rId19"/>
    <p:sldId id="427" r:id="rId20"/>
    <p:sldId id="428" r:id="rId21"/>
    <p:sldId id="429" r:id="rId22"/>
    <p:sldId id="430" r:id="rId23"/>
    <p:sldId id="431" r:id="rId24"/>
    <p:sldId id="432" r:id="rId25"/>
    <p:sldId id="434" r:id="rId26"/>
    <p:sldId id="438" r:id="rId27"/>
    <p:sldId id="439" r:id="rId28"/>
    <p:sldId id="441" r:id="rId29"/>
    <p:sldId id="451" r:id="rId30"/>
    <p:sldId id="443" r:id="rId31"/>
    <p:sldId id="452" r:id="rId32"/>
    <p:sldId id="444" r:id="rId33"/>
    <p:sldId id="446" r:id="rId34"/>
    <p:sldId id="447" r:id="rId35"/>
    <p:sldId id="448" r:id="rId36"/>
    <p:sldId id="449" r:id="rId37"/>
    <p:sldId id="450" r:id="rId38"/>
    <p:sldId id="460" r:id="rId39"/>
    <p:sldId id="373" r:id="rId40"/>
    <p:sldId id="456" r:id="rId41"/>
    <p:sldId id="458" r:id="rId42"/>
    <p:sldId id="457" r:id="rId43"/>
    <p:sldId id="459" r:id="rId44"/>
    <p:sldId id="463" r:id="rId45"/>
    <p:sldId id="461" r:id="rId46"/>
    <p:sldId id="462" r:id="rId47"/>
    <p:sldId id="388" r:id="rId48"/>
    <p:sldId id="389" r:id="rId49"/>
    <p:sldId id="390" r:id="rId50"/>
    <p:sldId id="408" r:id="rId51"/>
    <p:sldId id="399" r:id="rId52"/>
    <p:sldId id="409" r:id="rId53"/>
    <p:sldId id="464" r:id="rId54"/>
    <p:sldId id="465" r:id="rId55"/>
    <p:sldId id="466" r:id="rId56"/>
    <p:sldId id="467" r:id="rId57"/>
    <p:sldId id="468" r:id="rId58"/>
    <p:sldId id="469" r:id="rId59"/>
    <p:sldId id="470" r:id="rId60"/>
    <p:sldId id="471" r:id="rId61"/>
    <p:sldId id="472" r:id="rId62"/>
  </p:sldIdLst>
  <p:sldSz cx="12192000" cy="6858000"/>
  <p:notesSz cx="6858000" cy="9144000"/>
  <p:custDataLst>
    <p:tags r:id="rId65"/>
  </p:custDataLst>
  <p:defaultTextStyle>
    <a:defPPr>
      <a:defRPr lang="en-US"/>
    </a:defPPr>
    <a:lvl1pPr marL="0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2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unrise" id="{78FB2997-83C7-4741-B02E-F294E64A1E10}">
          <p14:sldIdLst>
            <p14:sldId id="422"/>
            <p14:sldId id="394"/>
            <p14:sldId id="264"/>
            <p14:sldId id="423"/>
            <p14:sldId id="421"/>
            <p14:sldId id="437"/>
            <p14:sldId id="455"/>
            <p14:sldId id="436"/>
            <p14:sldId id="424"/>
            <p14:sldId id="393"/>
            <p14:sldId id="404"/>
            <p14:sldId id="401"/>
            <p14:sldId id="425"/>
            <p14:sldId id="426"/>
            <p14:sldId id="433"/>
            <p14:sldId id="427"/>
            <p14:sldId id="428"/>
            <p14:sldId id="429"/>
            <p14:sldId id="430"/>
            <p14:sldId id="431"/>
            <p14:sldId id="432"/>
            <p14:sldId id="434"/>
            <p14:sldId id="438"/>
            <p14:sldId id="439"/>
            <p14:sldId id="441"/>
            <p14:sldId id="451"/>
            <p14:sldId id="443"/>
            <p14:sldId id="452"/>
            <p14:sldId id="444"/>
            <p14:sldId id="446"/>
            <p14:sldId id="447"/>
            <p14:sldId id="448"/>
            <p14:sldId id="449"/>
            <p14:sldId id="450"/>
            <p14:sldId id="460"/>
            <p14:sldId id="373"/>
            <p14:sldId id="456"/>
            <p14:sldId id="458"/>
            <p14:sldId id="457"/>
            <p14:sldId id="459"/>
            <p14:sldId id="463"/>
            <p14:sldId id="461"/>
            <p14:sldId id="462"/>
            <p14:sldId id="388"/>
            <p14:sldId id="389"/>
            <p14:sldId id="390"/>
            <p14:sldId id="408"/>
            <p14:sldId id="399"/>
            <p14:sldId id="409"/>
            <p14:sldId id="464"/>
            <p14:sldId id="465"/>
            <p14:sldId id="466"/>
            <p14:sldId id="467"/>
            <p14:sldId id="468"/>
            <p14:sldId id="469"/>
            <p14:sldId id="470"/>
            <p14:sldId id="471"/>
            <p14:sldId id="47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van Santiago" initials="ES" lastIdx="1" clrIdx="0"/>
  <p:cmAuthor id="2" name="Evan Santiago" initials="ES [2]" lastIdx="1" clrIdx="1"/>
  <p:cmAuthor id="3" name="Evan Santiago" initials="ES [3]" lastIdx="1" clrIdx="2"/>
  <p:cmAuthor id="4" name="Evan Santiago" initials="ES [4]" lastIdx="1" clrIdx="3"/>
  <p:cmAuthor id="5" name="Evan Santiago" initials="ES [5]" lastIdx="1" clrIdx="4"/>
  <p:cmAuthor id="6" name="Evan Santiago" initials="ES [6]" lastIdx="1" clrIdx="5"/>
  <p:cmAuthor id="7" name="Evan Santiago" initials="ES [7]" lastIdx="1" clrIdx="6"/>
  <p:cmAuthor id="8" name="Evan Santiago" initials="ES [8]" lastIdx="1" clrIdx="7"/>
  <p:cmAuthor id="9" name="Evan Santiago" initials="ES [9]" lastIdx="1" clrIdx="8"/>
  <p:cmAuthor id="10" name="Evan Santiago" initials="ES [10]" lastIdx="1" clrIdx="9"/>
  <p:cmAuthor id="11" name="Evan Santiago" initials="ES [11]" lastIdx="1" clrIdx="10"/>
  <p:cmAuthor id="12" name="Evan Santiago" initials="ES [12]" lastIdx="1" clrIdx="11"/>
  <p:cmAuthor id="13" name="Evan Santiago" initials="ES [13]" lastIdx="1" clrIdx="12"/>
  <p:cmAuthor id="14" name="Evan Santiago" initials="ES [14]" lastIdx="1" clrIdx="13"/>
  <p:cmAuthor id="15" name="Evan Santiago" initials="ES [15]" lastIdx="1" clrIdx="14"/>
  <p:cmAuthor id="16" name="Evan Santiago" initials="ES [16]" lastIdx="1" clrIdx="15"/>
  <p:cmAuthor id="17" name="Evan Santiago" initials="ES [2] [2]" lastIdx="1" clrIdx="16"/>
  <p:cmAuthor id="18" name="Evan Santiago" initials="ES [4] [2]" lastIdx="1" clrIdx="17"/>
  <p:cmAuthor id="19" name="Evan Santiago" initials="ES [17]" lastIdx="1" clrIdx="18"/>
  <p:cmAuthor id="20" name="Evan Santiago" initials="ES [18]" lastIdx="1" clrIdx="19"/>
  <p:cmAuthor id="21" name="Evan Santiago" initials="ES [19]" lastIdx="1" clrIdx="20"/>
  <p:cmAuthor id="22" name="Evan Santiago" initials="ES [20]" lastIdx="1" clrIdx="21"/>
  <p:cmAuthor id="23" name="Evan Santiago" initials="ES [21]" lastIdx="1" clrIdx="22"/>
  <p:cmAuthor id="24" name="Evan Santiago" initials="ES [22]" lastIdx="1" clrIdx="23"/>
  <p:cmAuthor id="25" name="Evan Santiago" initials="ES [23]" lastIdx="1" clrIdx="24"/>
  <p:cmAuthor id="26" name="Evan Santiago" initials="ES [24]" lastIdx="1" clrIdx="25"/>
  <p:cmAuthor id="27" name="Evan Santiago" initials="ES [25]" lastIdx="1" clrIdx="26"/>
  <p:cmAuthor id="28" name="Evan Santiago" initials="ES [26]" lastIdx="1" clrIdx="27"/>
  <p:cmAuthor id="29" name="Evan Santiago" initials="ES [27]" lastIdx="1" clrIdx="28"/>
  <p:cmAuthor id="30" name="Michelle Pruett" initials="MP" lastIdx="28" clrIdx="29">
    <p:extLst>
      <p:ext uri="{19B8F6BF-5375-455C-9EA6-DF929625EA0E}">
        <p15:presenceInfo xmlns:p15="http://schemas.microsoft.com/office/powerpoint/2012/main" userId="S::m.pruett@criteo.com::605966d9-2380-4d0d-a878-d7d00c22c8d5" providerId="AD"/>
      </p:ext>
    </p:extLst>
  </p:cmAuthor>
  <p:cmAuthor id="31" name="Chris Mutsaerts" initials="CM" lastIdx="32" clrIdx="30">
    <p:extLst>
      <p:ext uri="{19B8F6BF-5375-455C-9EA6-DF929625EA0E}">
        <p15:presenceInfo xmlns:p15="http://schemas.microsoft.com/office/powerpoint/2012/main" userId="S::c.mutsaerts@criteo.com::f9922e34-64be-4d1b-85c7-8360449c253b" providerId="AD"/>
      </p:ext>
    </p:extLst>
  </p:cmAuthor>
  <p:cmAuthor id="32" name="Clemence Vermersch" initials="CV" lastIdx="8" clrIdx="31">
    <p:extLst>
      <p:ext uri="{19B8F6BF-5375-455C-9EA6-DF929625EA0E}">
        <p15:presenceInfo xmlns:p15="http://schemas.microsoft.com/office/powerpoint/2012/main" userId="S::c.vermersch@criteo.com::9b8bb81e-d49c-4a12-aca6-a02b6b149819" providerId="AD"/>
      </p:ext>
    </p:extLst>
  </p:cmAuthor>
  <p:cmAuthor id="33" name="Kelsey Wahl" initials="KW" lastIdx="43" clrIdx="32">
    <p:extLst>
      <p:ext uri="{19B8F6BF-5375-455C-9EA6-DF929625EA0E}">
        <p15:presenceInfo xmlns:p15="http://schemas.microsoft.com/office/powerpoint/2012/main" userId="S::k.wahl@criteo.com::271bd670-a98c-41ab-8469-e2663dca73f2" providerId="AD"/>
      </p:ext>
    </p:extLst>
  </p:cmAuthor>
  <p:cmAuthor id="34" name="Shruthi Chindalur" initials="SC" lastIdx="9" clrIdx="33">
    <p:extLst>
      <p:ext uri="{19B8F6BF-5375-455C-9EA6-DF929625EA0E}">
        <p15:presenceInfo xmlns:p15="http://schemas.microsoft.com/office/powerpoint/2012/main" userId="S::s.chindalur@criteo.com::e5692b37-a34e-424c-b78e-c6ed2e5902fa" providerId="AD"/>
      </p:ext>
    </p:extLst>
  </p:cmAuthor>
  <p:cmAuthor id="35" name="Edouard Lassalle" initials="EL" lastIdx="27" clrIdx="34">
    <p:extLst>
      <p:ext uri="{19B8F6BF-5375-455C-9EA6-DF929625EA0E}">
        <p15:presenceInfo xmlns:p15="http://schemas.microsoft.com/office/powerpoint/2012/main" userId="S::e.lassalle@criteo.com::ed98ae6a-d016-4d00-81c1-0a4a20fd8c02" providerId="AD"/>
      </p:ext>
    </p:extLst>
  </p:cmAuthor>
  <p:cmAuthor id="36" name="Brigette Kierulf" initials="BK" lastIdx="6" clrIdx="35">
    <p:extLst>
      <p:ext uri="{19B8F6BF-5375-455C-9EA6-DF929625EA0E}">
        <p15:presenceInfo xmlns:p15="http://schemas.microsoft.com/office/powerpoint/2012/main" userId="S::b.kierulf@criteo.com::99f2c1df-28f0-4c5b-aa75-7cb322e845c6" providerId="AD"/>
      </p:ext>
    </p:extLst>
  </p:cmAuthor>
  <p:cmAuthor id="37" name="Anthony Duong" initials="AD" lastIdx="8" clrIdx="36">
    <p:extLst>
      <p:ext uri="{19B8F6BF-5375-455C-9EA6-DF929625EA0E}">
        <p15:presenceInfo xmlns:p15="http://schemas.microsoft.com/office/powerpoint/2012/main" userId="S::a.duong@criteo.com::50407ffa-7af6-4b6d-a8a2-09882c24678e" providerId="AD"/>
      </p:ext>
    </p:extLst>
  </p:cmAuthor>
  <p:cmAuthor id="38" name="David Fox" initials="DF" lastIdx="6" clrIdx="37">
    <p:extLst>
      <p:ext uri="{19B8F6BF-5375-455C-9EA6-DF929625EA0E}">
        <p15:presenceInfo xmlns:p15="http://schemas.microsoft.com/office/powerpoint/2012/main" userId="S::d.fox@criteo.com::ece6ab5f-c9f3-4343-849f-f0318d8009c0" providerId="AD"/>
      </p:ext>
    </p:extLst>
  </p:cmAuthor>
  <p:cmAuthor id="39" name="Anthony Spano" initials="AS" lastIdx="5" clrIdx="38">
    <p:extLst>
      <p:ext uri="{19B8F6BF-5375-455C-9EA6-DF929625EA0E}">
        <p15:presenceInfo xmlns:p15="http://schemas.microsoft.com/office/powerpoint/2012/main" userId="S::a.spano@criteo.com::9f28d0c3-0045-4eee-8fa5-484003711c30" providerId="AD"/>
      </p:ext>
    </p:extLst>
  </p:cmAuthor>
  <p:cmAuthor id="40" name="Katie Travers" initials="KT" lastIdx="8" clrIdx="39">
    <p:extLst>
      <p:ext uri="{19B8F6BF-5375-455C-9EA6-DF929625EA0E}">
        <p15:presenceInfo xmlns:p15="http://schemas.microsoft.com/office/powerpoint/2012/main" userId="S::k.travers@criteo.com::5f319f14-7a58-44da-9bd2-90a490eb4fc5" providerId="AD"/>
      </p:ext>
    </p:extLst>
  </p:cmAuthor>
  <p:cmAuthor id="41" name="Microsoft Office User" initials="MOU" lastIdx="1" clrIdx="40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DCC"/>
    <a:srgbClr val="2A2E33"/>
    <a:srgbClr val="FFDBCF"/>
    <a:srgbClr val="D1D5E6"/>
    <a:srgbClr val="DEF9BB"/>
    <a:srgbClr val="FAEF79"/>
    <a:srgbClr val="1D3866"/>
    <a:srgbClr val="1C3833"/>
    <a:srgbClr val="002924"/>
    <a:srgbClr val="264B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15" autoAdjust="0"/>
    <p:restoredTop sz="94626"/>
  </p:normalViewPr>
  <p:slideViewPr>
    <p:cSldViewPr snapToGrid="0">
      <p:cViewPr>
        <p:scale>
          <a:sx n="90" d="100"/>
          <a:sy n="90" d="100"/>
        </p:scale>
        <p:origin x="1872" y="504"/>
      </p:cViewPr>
      <p:guideLst/>
    </p:cSldViewPr>
  </p:slideViewPr>
  <p:outlineViewPr>
    <p:cViewPr>
      <p:scale>
        <a:sx n="33" d="100"/>
        <a:sy n="33" d="100"/>
      </p:scale>
      <p:origin x="-56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680" y="11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notesMaster" Target="notesMasters/notesMaster1.xml"/><Relationship Id="rId68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commentAuthors" Target="commentAuthor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handoutMaster" Target="handoutMasters/handoutMaster1.xml"/><Relationship Id="rId69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A2D38D-4F72-B941-81F4-83BED0C8DC92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6EE349-B348-7544-9FFB-DE3C7BC261D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4492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3:03.108"/>
    </inkml:context>
    <inkml:brush xml:id="br0">
      <inkml:brushProperty name="width" value="0.08571" units="cm"/>
      <inkml:brushProperty name="height" value="0.08571" units="cm"/>
      <inkml:brushProperty name="color" value="#FF4F01"/>
    </inkml:brush>
  </inkml:definitions>
  <inkml:trace contextRef="#ctx0" brushRef="#br0">768 42 9062,'-13'-16'719,"5"4"-539,2 12 0,0 0 0,-2 0 90,-6 0-180,6 0 90,-4 0 0,4 0 90,-12-6-270,4 4 359,-23-4-179,21 6 180,-27 0-180,28 0 0,-28 6-270,26 2 450,-32 6-270,26-6 0,-21 4 0,16-4 89,-10 6-89,17-6 0,-10 10 180,18-15 90,-18 22-630,16-22 0,-15 22 270,16-16-90,-10 17 90,16-10-90,-14 11 180,14-12 180,-10 12-90,12-12 90,2 11-180,6-10 0,0 10 0,0-10 180,0 4-180,0-6-1,6 6 181,-4-11-270,4 16 0,0-16 270,-4 11-270,11-12-90,0 5 0,3-6 0,10 1 90,-11-2-90,18 0 180,-16 2-270,22 6 1,-22-6 179,22 4 0,-16-4-90,17 6 90,-16 0-90,14 0 90,-20-6-90,20-2 90,-21-6-90,22 0 90,-16 0-270,18 0 180,-18 0-90,16-6 180,-16 4-180,11-4 90,-12 0 0,10-2 0,-15 0-90,22-4 90,-22 10 1,16-10-1,-18 4 0,12 1 0,-18-6-90,16 5 180,-16 0 0,11-10 0,-12 15-180,4-22 180,-4 22 0,6-22 90,0 22 0,0-15-90,-7 9 180,6 2-90,-11-6 359,4 6-449,-6-7 0,0-13-180,0 10 180,0-22-179,0 22-271,-6-15 360,4 10-90,-17-6 90,4 6-270,-19-10 270,11 15-90,-16-15 90,15 16-899,-22 2 449,15 8-2788,-40 18 3328,35-3 0,-36 12 0,29-7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1:03.346"/>
    </inkml:context>
    <inkml:brush xml:id="br0">
      <inkml:brushProperty name="width" value="0.08571" units="cm"/>
      <inkml:brushProperty name="height" value="0.08571" units="cm"/>
      <inkml:brushProperty name="color" value="#849398"/>
    </inkml:brush>
  </inkml:definitions>
  <inkml:trace contextRef="#ctx0" brushRef="#br0">247 0 9602,'12'0'269,"-2"0"1,-10 10-180,0-8-90,0 7 270,0 1-180,0-7 90,10 7 90,-8 0-180,8 3 179,-10 9-179,0-10 270,10 18-270,-8-25 270,8 26-540,-10-20 180,0 22 90,10-19 180,-8 26-180,8-25 180,0 27-270,-8-17 90,8 17 0,-10-28 89,0 36-179,0-33 180,0 25-180,0-19 180,-10-1-180,8-9 0,-18 7 0,18-18 90,-28 28-180,25-25 90,-34 25 0,34-28 0,-25 8 0,18 0 180,-11-8-180,11 8 0,-8-10 90,18 0 180,-28 10-270,25 2 90,-24 0 0,16-2-360,1 0 270,2-7-360,0 7 360,7-10-180,-7 0-449,10 0-271,-10 0 810,8 0-2518,-8 0 1348,10 0 1260,0 0 0,0-20 0,0-5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1:04.296"/>
    </inkml:context>
    <inkml:brush xml:id="br0">
      <inkml:brushProperty name="width" value="0.08571" units="cm"/>
      <inkml:brushProperty name="height" value="0.08571" units="cm"/>
      <inkml:brushProperty name="color" value="#849398"/>
    </inkml:brush>
  </inkml:definitions>
  <inkml:trace contextRef="#ctx0" brushRef="#br0">91 68 5824,'22'-26'0,"-10"6"0,-2 20 0,-10-9 899,0 6-269,0-6-1,0 9 1620,0 0-2069,0 9-180,0-6 180,0 6-90,-10-9 90,8 10-90,-18 3 359,8 10-359,-1-2-90,-6 2-90,16-11 270,-16 9-360,16-19 540,-17 18-360,17-18 270,-7 8-270,10-10 90,0 0 0,0 10-90,0-8 90,0 8-270,0-10 270,0 0-90,0 9 180,0-6-180,0 7 0,10-10 0,-7 0 90,7 0-90,0 0 90,-7 0 0,7 10 0,-1-7 90,4 17 0,-1-18-1,8 27-89,-18-24 180,27 25-180,-24-27-90,25 7-180,-28-10-449,19 0 179,-19 0 450,19-10 0,-19-2 0,8-11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1:05.999"/>
    </inkml:context>
    <inkml:brush xml:id="br0">
      <inkml:brushProperty name="width" value="0.08571" units="cm"/>
      <inkml:brushProperty name="height" value="0.08571" units="cm"/>
      <inkml:brushProperty name="color" value="#849398"/>
    </inkml:brush>
  </inkml:definitions>
  <inkml:trace contextRef="#ctx0" brushRef="#br0">1 23 7623,'24'-12'359,"-4"2"-179,-20 10 2159,0 0-2069,0 10-90,0-8 90,0 18-180,0-8-1,-10 0 271,7 18-180,-6-15 450,-1 27-810,7-17 270,-6 7 0,9-10 270,0 11-270,0-19 269,0 26-269,0-25 360,0 17-360,0-9-180,9 9 0,-6-7-180,7 16 270,-10-16 180,0 17-180,9-27 180,-6 24-180,7-34 180,0 26-90,-8-20 180,8 2-360,0 7 90,-8-18 0,8 19 180,0-19-180,2 8 0,11 0 0,-11-8 0,8 8 0,-7-10 90,9 0-90,-10 0-270,8 0 270,-8 0 0,10 0-180,0 0 0,1 0 180,-11 0-270,9 0 270,-19 0-180,8 0 180,-10 0-90,10 0 90,-8 0-90,8 0 0,-10 0-1237,0 0 0,-10 0 1,-2 0-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1:06.896"/>
    </inkml:context>
    <inkml:brush xml:id="br0">
      <inkml:brushProperty name="width" value="0.08571" units="cm"/>
      <inkml:brushProperty name="height" value="0.08571" units="cm"/>
      <inkml:brushProperty name="color" value="#849398"/>
    </inkml:brush>
  </inkml:definitions>
  <inkml:trace contextRef="#ctx0" brushRef="#br0">68 13 12660,'0'-13'539,"10"13"-628,-8 3 89,8 16 89,-10-16 1,10 6-180,-8 1-89,18 3 269,-18 0 89,18 7-179,-17-18 90,6 8-90,-9-1 90,10-6 0,-7 6 0,6-9-90,-9 0-90,0 11 180,0-9-90,0 9 90,0-11 0,0 0-180,-9 0 90,6 10 90,-7-8-90,1 18-180,6-18 180,-7 8 0,0 0 0,8-8-90,-8 17 90,10-16-449,-10 17 449,8-17-360,-8 17 270,10-18-810,-10 17 540,8-16-2698,-19 27 2788,9-15 270,-1 7 0,-7-12 0,8-1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0:59.479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0 1 24575,'0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0:59.479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0 1 24575,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3:05.163"/>
    </inkml:context>
    <inkml:brush xml:id="br0">
      <inkml:brushProperty name="width" value="0.08571" units="cm"/>
      <inkml:brushProperty name="height" value="0.08571" units="cm"/>
      <inkml:brushProperty name="color" value="#FF4F01"/>
    </inkml:brush>
  </inkml:definitions>
  <inkml:trace contextRef="#ctx0" brushRef="#br0">824 70 8792,'0'-8'450,"0"-4"-270,-6 10 0,5-4-91,-12 6 91,6 0 0,-8-6 0,8 4 90,-12-4-360,3 0 180,-18-2-90,5 0 360,-11 2-270,10 6 270,-16 0-271,15 0 91,-10 6-90,13-4 90,-12 17-270,15-10 180,-26 17 0,26-10 270,-28 16-360,22-21 270,-21 26-180,21-26 90,-22 28-270,28-22 180,-13 16 0,29-12 90,-10 8-180,17-8 359,-5 24-269,7-25 0,0 31-90,0-33 360,7 27-270,-5-21 180,17 23-180,-10-18 0,29 5 0,-19-12 90,44 4-91,-34-10 91,48 10-270,-37-17-179,39 16 89,-38-21-180,48 8 180,-51-12-45,25-3 0,1 0 135,-21 1 45,16-6 0,-3-3-45,-22 2 90,38-23 90,-40 14 180,27-27-360,-34 27 630,7-33-540,-18 26 180,-6-40-180,-1 24-90,-20-44-360,-2 43 45,-10-4 1,-4 2 224,-11 8-405,-4 0 0,-3 1 136,-2 10 449,-12 7 0,-1 4 0,2 6 0,-40 2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3:06.909"/>
    </inkml:context>
    <inkml:brush xml:id="br0">
      <inkml:brushProperty name="width" value="0.08571" units="cm"/>
      <inkml:brushProperty name="height" value="0.08571" units="cm"/>
      <inkml:brushProperty name="color" value="#FF4F01"/>
    </inkml:brush>
  </inkml:definitions>
  <inkml:trace contextRef="#ctx0" brushRef="#br0">629 15 8342,'-16'-8'360,"-2"2"-180,16 6 0,-10 0 0,4 0-90,-6 0 90,0 0-1,-12 0 1,3 0 90,-18 0-180,12 0 0,-11 6-180,16-4 180,-8 11 0,16-6 0,-10 7 0,10 0 180,-22 12-180,19-15 180,-26 21-180,28-23 179,-28 30-89,27-21-90,-21 21 0,29-24 180,-15 24-180,22-20 90,-10 25 0,13-26 0,0 27-90,0-27 90,0 40-91,0-38 181,7 43-270,1-36 360,12 44-270,-4-30 0,4 6-90,-6-14-90,18 1-3212,-1-9 3392,5 8-90,-3-25 0,13 4 90,-12-11-180,50-1-180,-48-7 270,28-14-90,-3-6-360,18-28 450,-17 15-45,-21 7 0,-6 1 45,-16 7 0,20-39 0,-30 42 180,9-47-180,-16 42-449,-14-69 269,1 50 180,-16-39 0,13 42 0,-6 8-2069,-20-30-450,-42 36 2519,16-11 0,-25 42 0,41 12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0:20.471"/>
    </inkml:context>
    <inkml:brush xml:id="br0">
      <inkml:brushProperty name="width" value="0.2" units="cm"/>
      <inkml:brushProperty name="height" value="0.4" units="cm"/>
      <inkml:brushProperty name="color" value="#1871B1"/>
      <inkml:brushProperty name="tip" value="rectangle"/>
      <inkml:brushProperty name="rasterOp" value="maskPen"/>
    </inkml:brush>
  </inkml:definitions>
  <inkml:trace contextRef="#ctx0" brushRef="#br0">0 28 11629,'24'-15'983,"-6"3"-617,-11 12-366,0 0 90,8 0 0,-1 0-90,-6 0 0,5 0 90,-6 0 0,7 0-90,0 0 90,-6 0-180,5 0 180,-6 0-90,8 0 0,-1 0 0,0 0 0,13 0 0,-10 0-90,16 0 90,-18 0-90,18 0 90,-15 0 0,21 0 0,-22 0 0,29 0 0,-34 0 0,32 0 0,-39 0 0,33 0 0,-34 0 0,33 0 0,-32 0 0,27 0 0,-29 0 0,28 0 0,-20 0 0,22 0 0,-18 0 0,12 0 0,-11 0-90,17 0 90,-16 0 0,16 0 0,-17 0 0,17 0 0,-16 0 0,22 0 0,-28 0 0,21 0 0,-23 0-90,18 0 90,-18 0 0,22 0 0,-26 0 0,33 0 0,-27 0 0,21 0 0,-16 0 0,11 0 0,-18 0 0,17 0 0,-17 0 0,11 0 0,-6 0 0,7 0 0,-12 0 0,17 0 0,-23 0-90,15 0 270,-10 0-90,12 0-90,-10 0 90,15 0-90,-22 0 0,22 0 0,-15 0 0,10 0-90,-6 0 90,0 0 0,-6 0 0,11 0 0,-16 0-90,22 0 90,-22 0 0,16 0 0,-11 0-90,6 0 90,0 6 0,-6-5 0,4 5 0,-4-6 0,6 0 0,1 0 0,-7 0 0,4 0 0,-4 0 0,6 0 0,0 0 0,-7 0 0,6 0 90,-5 0 0,6 0-90,1 6-45,-8-4 0,0 10 0,-7-4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0:24.456"/>
    </inkml:context>
    <inkml:brush xml:id="br0">
      <inkml:brushProperty name="width" value="0.2" units="cm"/>
      <inkml:brushProperty name="height" value="0.4" units="cm"/>
      <inkml:brushProperty name="color" value="#1871B1"/>
      <inkml:brushProperty name="tip" value="rectangle"/>
      <inkml:brushProperty name="rasterOp" value="maskPen"/>
    </inkml:brush>
  </inkml:definitions>
  <inkml:trace contextRef="#ctx0" brushRef="#br0">1 0 11629,'7'24'179,"0"1"-89,-7-24 0,0 12-270,0 1 360,0 2-270,0 4 0,0-12 270,0 29-180,0-22 90,6 43-90,-5-39 360,6 33-360,-7-27 180,0 22 90,0-24-180,0 23-90,0-28 180,0 28-90,0-29 0,0 22-180,0-15 90,0 17 0,0-18 0,0 10 0,0-17 180,0 23-180,0-20 89,0 27 1,0-30 0,0 18-90,0-19 90,0 12-90,0-11 0,0 16 0,0-21 90,0 27-90,0-33-90,0 32 90,0-32 0,0 26 0,0-21 0,0 10 0,0-6 0,0 7 0,0-6 0,0 12 0,0-12 0,0 12 90,0-11-90,0 11 90,0-12-90,0 12 0,0-18-90,0 23 90,0-27 0,0 32 0,0-26 90,0 22-90,0-17 0,0 4 90,0-6 0,0 7-90,0-6 0,0 6 0,0-8 0,0 2 0,0-7 0,0 4 0,0-4-90,0 6 90,0 0 0,0-6 90,0 5-90,0-5 0,0 6 0,0-1 0,0-5 0,0 5 0,0-5 0,0 6 0,0 0 0,0-6-180,0 4 450,0-4-270,0 7 0,0-1 0,0-7 0,0 6 0,18-18 0,-13 10 90,14-12 0,-7 7-90,-8 0 0,15 0 0,-12 0 0,7 0 0,0 0 0,-6 0 0,5 0 90,-6 0-90,8 0 0,-1-6 0,-6 5 0,5-5 90,-6 6-90,7 0 0,0 0 0,0 0 90,0 0-90,1 0 0,-1 0 90,0 0 0,6 0 0,-4 0 0,11 0-90,-12 0 90,6 0-90,-7 0 0,19-6 0,-21 4-90,26-11 90,-29 12-180,18-5 180,-17 6-180,14 0 180,-20 0-90,21 0 90,-22 0 90,22 6-90,-22-5 90,22 6-90,-15-7 90,10 0-90,-6 0 0,0-7 0,0 6 0,1-5 0,-1 6 0,0 0 0,0 0 0,0 0 0,0 0 0,0 0 0,0 0 0,7 0 0,-12 0 0,16 6 0,-16-5-270,18 6 90,-17-7 180,15 6 0,-16-4 0,12 4 0,-7-6 0,-7 0 90,12 0-90,-3 0 0,0 0 0,3 0 0,-12 0 0,7 0 0,0 0 0,-6 0 0,5 0 90,-6 0-90,8 0 0,-1 0 0,0 0 0,-6 6 0,5-5 90,-6 5-90,7-6 90,0 7-90,-6-6 90,5 5 0,-5-6-90,6 0 90,0 0-90,-6 0 0,4 0-90,-4 0 90,6 0 0,0 0 0,-6 0-90,4 0 90,-3 0 0,5 0 0,0 0 0,-6 0 90,4 0-90,-4 0 90,6 0-90,0 0 90,-6 0-180,4 7 0,-4-5 0,7 4 180,-1-6-90,-6 0 0,4 0 0,-4 7 0,6-6-90,0 5 90,-6-6 0,4 0 0,-4 6 0,6-4-90,1 4 180,-7-6-90,4 0-180,-4 0 90,6 0 90,0 0 0,-6 0 180,4 0-450,-4 0 270,6 0-90,1 6 180,-7-4 270,-2 11-360,-6 0 90,0-3-270,0 9 270,0-12-90,0 1 0,0 11 0,0-16 0,0 16 0,0-11 0,0 6 0,0 7 90,-6-6-180,4 18 180,-4-15-360,6 15 270,0-18 90,0 5-90,0-6 0,0 7-90,0-6 90,0 19-180,0-17 630,0 16-450,0-17 0,0 10 0,0-10-90,0 10 90,0-16 0,0 15 0,0-16 0,6 18 0,-4-12 90,4 19-90,-6-17 90,0 22-90,0-28-90,0 20 90,0-21 90,0 16-90,0-16-270,0 8 270,0-10 90,0 6-90,0 1 0,0 5 90,0-4-90,0 10 0,0-16 0,0 21 0,0-26-90,0 26 90,0-28 0,0 16 0,0-11 90,0-1-90,0 13 0,0-17 0,0 16 0,0-12-180,0 1 270,0 11-90,0-16 0,0 16 0,0-11 0,0 6 0,0 0-180,6 0 0,-4-6-148,4 4 0,-6-4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0:26.829"/>
    </inkml:context>
    <inkml:brush xml:id="br0">
      <inkml:brushProperty name="width" value="0.2" units="cm"/>
      <inkml:brushProperty name="height" value="0.4" units="cm"/>
      <inkml:brushProperty name="color" value="#1871B1"/>
      <inkml:brushProperty name="tip" value="rectangle"/>
      <inkml:brushProperty name="rasterOp" value="maskPen"/>
    </inkml:brush>
  </inkml:definitions>
  <inkml:trace contextRef="#ctx0" brushRef="#br0">1 1 11629,'23'0'983,"-4"0"-617,-13 0-186,2 0 0,7 7-90,-1-6-1,-7 6-178,6-7 358,7 6-269,-2-5 180,14 12-180,-16-12 90,17 5-90,-16-6 270,22 0-270,-21 0-180,27 0 90,-26 0-270,32 0 450,-31 0-270,18 0 180,-22 0 90,11 7-90,-11-6 0,17 12 90,-16-12 180,16 12-270,-18-12 0,18 6 90,-15-7-180,21-7 90,-22 6 0,22-6 0,-22 7-90,17 0-90,-19 0 90,18 0 90,-16 0 180,16 0-180,-17 0 180,10 0-180,-10 0 90,5 7-180,-7-6 90,6 6 0,-4-1 0,4-4 0,-5 10 0,5-4 0,-5 0 180,12-2-180,-11 0 0,17-4 0,-16 4 0,22-6 0,-22 0-90,16 0 90,-17 0-450,17 7 450,-16-6 0,16 5-90,-17-6 90,4 7 0,-6-6-89,13 6 89,-10-7 89,16 6-89,-17-5 0,4 5-89,-6-6 89,0 0 0,7-6 0,-6 5-90,6-5 90,-7 6 0,-6-7 0,17 6 0,-21-6 0,28 7 0,-29 0 179,29 0-179,-28 0 180,27 0-180,-21 0 180,17 0-180,-18 0 0,16 0 0,-15 0 90,10 0-90,-6 0 90,6 0-90,-11 0 0,17 0 0,-23 0-90,22-6 90,-22 5 90,22-6-180,-22 7 180,16 0-90,-11 0 630,-1 0-540,13 0-540,-17 0 270,16 7 90,-18 1 630,6 5-540,-7 1 180,0-6 359,6 5-988,-5-6 121,6 8 0,-7-1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0:28.653"/>
    </inkml:context>
    <inkml:brush xml:id="br0">
      <inkml:brushProperty name="width" value="0.2" units="cm"/>
      <inkml:brushProperty name="height" value="0.4" units="cm"/>
      <inkml:brushProperty name="color" value="#1871B1"/>
      <inkml:brushProperty name="tip" value="rectangle"/>
      <inkml:brushProperty name="rasterOp" value="maskPen"/>
    </inkml:brush>
  </inkml:definitions>
  <inkml:trace contextRef="#ctx0" brushRef="#br0">15 1 11629,'-8'23'983,"2"2"0,6-17-701,0 18-372,0-8 180,6 8-90,-5 1-90,6-10 180,-1 29-180,-5-28 180,6 34-90,-1-27 90,-4 35-90,4-27 360,-6 27-180,0-36 0,0 28-270,0-27 270,0 22-180,0-23 0,0 21 0,0-26-180,0 33 270,0-33 0,0 33-90,0-28 270,0 17-270,0-12 90,0 17 0,0-19-1,0 25-89,0-28-89,0 16-1,0-16 90,0 21-90,0-26 90,0 33 0,0-33-90,0 26 90,0-28 90,-6 29-90,4-27 180,-4 26-180,6-27 0,0 8 0,0-12-90,0 12 180,0-15-90,0 21 0,0-22 179,0 16-89,0-10 0,-7 10-180,6-10 180,-5 17 0,6-22-270,0 21 180,0-29 0,0 15 0,0-10 0,0 6 0,0 1 0,0-7 0,0 4 0,0-4 0,0 6 0,0 0 90,0-6-90,0 4 0,0-4 0,0 6 0,0 0 0,0-5 90,0 3-90,0-4 0,0 6 0,0 0 90,0-6-180,0 4 180,0-4-90,0 6 0,0 0-984,0-6 259,0 5 6,0-6 539,6 8 90,-5-1-90,6-6 90,-7 4-90,0-4 180,0 6 360,0 0 0,0-6-360,0-33 0,0 4 0,0-19 0,6 7 0,2 3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0:30.724"/>
    </inkml:context>
    <inkml:brush xml:id="br0">
      <inkml:brushProperty name="width" value="0.2" units="cm"/>
      <inkml:brushProperty name="height" value="0.4" units="cm"/>
      <inkml:brushProperty name="color" value="#1871B1"/>
      <inkml:brushProperty name="tip" value="rectangle"/>
      <inkml:brushProperty name="rasterOp" value="maskPen"/>
    </inkml:brush>
  </inkml:definitions>
  <inkml:trace contextRef="#ctx0" brushRef="#br0">42 114 11629,'-23'-8'0,"4"2"983,19 6 0,25-6-611,-12 4-282,19-4 180,-18 6-180,1 0 90,-1-7-90,7 6-90,7-5 180,1-1-180,24-1 90,-19 1 90,25-6-90,-34 11-1,27-4 1,-39 6 90,31 0-270,-33 0 90,27-6 0,-20 4-90,27-10 90,-26 10 90,27-4-90,-29 6 0,16 0 90,-11 0-90,6 0 0,-6 0 0,4 6 0,-10-4-270,23 4 270,-20-6 0,27 0-89,-29 0 89,22 0 89,-22 0-178,16 0 89,-23 0-180,21 0 180,-20 0 0,22 0 0,-17 0 180,4 0-91,1 0 1,-6 6 0,5-4 0,-6 4 0,-6-6-180,11 0 180,-9 0-360,16 0 91,-10 0 179,17 0 0,-22 0 0,27 0 0,-34 0 89,28 0 91,-23 0 0,18 0-180,-18 0 0,10 0 90,-5 0-90,-4 0 90,8 0-90,-10 0-180,0 0 270,10 0-90,-14 0 0,15 0 0,-12 6 0,2-4 0,9 4 90,-8-6-90,4 0 0,-2 0 0,-4 0 0,6 0 0,0 0-90,0 0 90,-6 0 0,5 0 0,-5 0-180,6 0 270,0 0-90,-6 0 0,4 0 0,-4 0 180,6 0 90,0 0-180,-6 0 90,5 0-90,-5 0-360,6 0 270,0 0 0,-7 0-90,6 7 90,-5-6 0,-1 12 0,6-12 0,-5 6 90,7-7-90,-2 6 0,-5-5 0,5 6 0,-6-7 0,7 0 90,0 0-90,-6 0-90,5 0-90,-5 0 180,6 0 0,0 0-450,-6 0 390,5 0 0,-6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03T14:30:59.479"/>
    </inkml:context>
    <inkml:brush xml:id="br0">
      <inkml:brushProperty name="width" value="0.05" units="cm"/>
      <inkml:brushProperty name="height" value="0.05" units="cm"/>
      <inkml:brushProperty name="color" value="#849398"/>
    </inkml:brush>
  </inkml:definitions>
  <inkml:trace contextRef="#ctx0" brushRef="#br0">0 1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083934-CEC7-004E-981B-C90106CE648B}" type="datetimeFigureOut">
              <a:rPr lang="en-US" smtClean="0"/>
              <a:t>11/2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D4D1F2-5493-664C-9A78-84762AA9E207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187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Thanks</a:t>
            </a:r>
            <a:r>
              <a:rPr lang="fr-FR" dirty="0"/>
              <a:t>...</a:t>
            </a:r>
          </a:p>
          <a:p>
            <a:r>
              <a:rPr lang="fr-FR" dirty="0"/>
              <a:t>- </a:t>
            </a:r>
            <a:r>
              <a:rPr lang="fr-FR" dirty="0" err="1"/>
              <a:t>Members</a:t>
            </a:r>
            <a:r>
              <a:rPr lang="fr-FR" dirty="0"/>
              <a:t> of the jury</a:t>
            </a:r>
          </a:p>
          <a:p>
            <a:r>
              <a:rPr lang="fr-FR" dirty="0"/>
              <a:t>- Reporters</a:t>
            </a:r>
          </a:p>
          <a:p>
            <a:r>
              <a:rPr lang="fr-FR" dirty="0"/>
              <a:t>- </a:t>
            </a:r>
            <a:r>
              <a:rPr lang="fr-FR" dirty="0" err="1"/>
              <a:t>My</a:t>
            </a:r>
            <a:r>
              <a:rPr lang="fr-FR" dirty="0"/>
              <a:t> </a:t>
            </a:r>
            <a:r>
              <a:rPr lang="fr-FR" dirty="0" err="1"/>
              <a:t>supervisors</a:t>
            </a:r>
            <a:endParaRPr lang="fr-FR" dirty="0"/>
          </a:p>
          <a:p>
            <a:endParaRPr lang="fr-FR" dirty="0"/>
          </a:p>
          <a:p>
            <a:r>
              <a:rPr lang="fr-FR" dirty="0" err="1"/>
              <a:t>Brief</a:t>
            </a:r>
            <a:r>
              <a:rPr lang="fr-FR" dirty="0"/>
              <a:t> one liner of </a:t>
            </a:r>
            <a:r>
              <a:rPr lang="fr-FR" dirty="0" err="1"/>
              <a:t>my</a:t>
            </a:r>
            <a:r>
              <a:rPr lang="fr-FR" dirty="0"/>
              <a:t> </a:t>
            </a:r>
            <a:r>
              <a:rPr lang="fr-FR" dirty="0" err="1"/>
              <a:t>subject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0835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2662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5473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9992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9441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2606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7559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5377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2029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3572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948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1) Intro --&gt; </a:t>
            </a:r>
            <a:r>
              <a:rPr lang="fr-FR" dirty="0" err="1"/>
              <a:t>contextualize</a:t>
            </a:r>
            <a:r>
              <a:rPr lang="fr-FR" dirty="0"/>
              <a:t> + contributions</a:t>
            </a:r>
          </a:p>
          <a:p>
            <a:r>
              <a:rPr lang="fr-FR" dirty="0"/>
              <a:t>2) </a:t>
            </a:r>
            <a:r>
              <a:rPr lang="fr-FR" dirty="0" err="1"/>
              <a:t>Detail</a:t>
            </a:r>
            <a:r>
              <a:rPr lang="fr-FR" dirty="0"/>
              <a:t> 2 contributions --&gt; one on </a:t>
            </a:r>
            <a:r>
              <a:rPr lang="fr-FR" dirty="0" err="1"/>
              <a:t>each</a:t>
            </a:r>
            <a:r>
              <a:rPr lang="fr-FR" dirty="0"/>
              <a:t> setting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9924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5342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5744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939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116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Why</a:t>
            </a:r>
            <a:r>
              <a:rPr lang="fr-FR" dirty="0"/>
              <a:t> </a:t>
            </a:r>
            <a:r>
              <a:rPr lang="fr-FR" dirty="0" err="1"/>
              <a:t>robustness</a:t>
            </a:r>
            <a:r>
              <a:rPr lang="fr-FR" dirty="0"/>
              <a:t> important for </a:t>
            </a:r>
            <a:r>
              <a:rPr lang="fr-FR" dirty="0" err="1"/>
              <a:t>Criteo</a:t>
            </a:r>
            <a:r>
              <a:rPr lang="fr-FR" dirty="0"/>
              <a:t>?</a:t>
            </a:r>
          </a:p>
          <a:p>
            <a:r>
              <a:rPr lang="fr-FR" dirty="0"/>
              <a:t>--&gt; </a:t>
            </a:r>
            <a:r>
              <a:rPr lang="fr-FR" dirty="0" err="1"/>
              <a:t>Criteo</a:t>
            </a:r>
            <a:r>
              <a:rPr lang="fr-FR" dirty="0"/>
              <a:t> </a:t>
            </a:r>
            <a:r>
              <a:rPr lang="fr-FR" dirty="0" err="1"/>
              <a:t>does</a:t>
            </a:r>
            <a:r>
              <a:rPr lang="fr-FR" dirty="0"/>
              <a:t> </a:t>
            </a:r>
            <a:r>
              <a:rPr lang="fr-FR" dirty="0" err="1"/>
              <a:t>advertisement</a:t>
            </a:r>
            <a:r>
              <a:rPr lang="fr-FR" dirty="0"/>
              <a:t> on the internet</a:t>
            </a:r>
          </a:p>
          <a:p>
            <a:r>
              <a:rPr lang="fr-FR" dirty="0"/>
              <a:t>--&gt; the </a:t>
            </a:r>
            <a:r>
              <a:rPr lang="fr-FR" dirty="0" err="1"/>
              <a:t>engine</a:t>
            </a:r>
            <a:r>
              <a:rPr lang="fr-FR" dirty="0"/>
              <a:t> </a:t>
            </a:r>
            <a:r>
              <a:rPr lang="fr-FR" dirty="0" err="1"/>
              <a:t>interact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users</a:t>
            </a:r>
            <a:r>
              <a:rPr lang="fr-FR" dirty="0"/>
              <a:t> and brands</a:t>
            </a:r>
          </a:p>
          <a:p>
            <a:r>
              <a:rPr lang="fr-FR" dirty="0"/>
              <a:t>--&gt; pain points</a:t>
            </a:r>
          </a:p>
          <a:p>
            <a:endParaRPr lang="fr-FR" dirty="0"/>
          </a:p>
          <a:p>
            <a:r>
              <a:rPr lang="fr-FR" dirty="0"/>
              <a:t>PAUS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4039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My</a:t>
            </a:r>
            <a:r>
              <a:rPr lang="fr-FR" dirty="0"/>
              <a:t> goal </a:t>
            </a:r>
            <a:r>
              <a:rPr lang="fr-FR" dirty="0" err="1"/>
              <a:t>is</a:t>
            </a:r>
            <a:r>
              <a:rPr lang="fr-FR" dirty="0"/>
              <a:t> to </a:t>
            </a:r>
            <a:r>
              <a:rPr lang="fr-FR" dirty="0" err="1"/>
              <a:t>defend</a:t>
            </a:r>
            <a:r>
              <a:rPr lang="fr-FR" dirty="0"/>
              <a:t> </a:t>
            </a:r>
            <a:r>
              <a:rPr lang="fr-FR" dirty="0" err="1"/>
              <a:t>against</a:t>
            </a:r>
            <a:r>
              <a:rPr lang="fr-FR" dirty="0"/>
              <a:t> </a:t>
            </a:r>
            <a:r>
              <a:rPr lang="fr-FR" dirty="0" err="1"/>
              <a:t>some</a:t>
            </a:r>
            <a:r>
              <a:rPr lang="fr-FR" dirty="0"/>
              <a:t> </a:t>
            </a:r>
            <a:r>
              <a:rPr lang="fr-FR" dirty="0" err="1"/>
              <a:t>attacks</a:t>
            </a:r>
            <a:endParaRPr lang="fr-FR" dirty="0"/>
          </a:p>
          <a:p>
            <a:endParaRPr lang="fr-FR" dirty="0"/>
          </a:p>
          <a:p>
            <a:r>
              <a:rPr lang="fr-FR" dirty="0"/>
              <a:t>First: </a:t>
            </a:r>
            <a:r>
              <a:rPr lang="fr-FR" dirty="0" err="1"/>
              <a:t>context</a:t>
            </a:r>
            <a:r>
              <a:rPr lang="fr-FR" dirty="0"/>
              <a:t> --&gt; </a:t>
            </a:r>
            <a:r>
              <a:rPr lang="fr-FR" dirty="0" err="1"/>
              <a:t>lightweight</a:t>
            </a:r>
            <a:r>
              <a:rPr lang="fr-FR" dirty="0"/>
              <a:t> notations</a:t>
            </a:r>
          </a:p>
          <a:p>
            <a:endParaRPr lang="fr-FR" dirty="0"/>
          </a:p>
          <a:p>
            <a:r>
              <a:rPr lang="fr-FR" dirty="0" err="1"/>
              <a:t>Now</a:t>
            </a:r>
            <a:r>
              <a:rPr lang="fr-FR" dirty="0"/>
              <a:t>: deal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attack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9959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These</a:t>
            </a:r>
            <a:r>
              <a:rPr lang="fr-FR" dirty="0"/>
              <a:t> </a:t>
            </a:r>
            <a:r>
              <a:rPr lang="fr-FR" dirty="0" err="1"/>
              <a:t>two</a:t>
            </a:r>
            <a:r>
              <a:rPr lang="fr-FR" dirty="0"/>
              <a:t> types of </a:t>
            </a:r>
            <a:r>
              <a:rPr lang="fr-FR" dirty="0" err="1"/>
              <a:t>attacks</a:t>
            </a:r>
            <a:r>
              <a:rPr lang="fr-FR" dirty="0"/>
              <a:t> are relevant in </a:t>
            </a:r>
            <a:r>
              <a:rPr lang="fr-FR" dirty="0" err="1"/>
              <a:t>different</a:t>
            </a:r>
            <a:r>
              <a:rPr lang="fr-FR" dirty="0"/>
              <a:t> </a:t>
            </a:r>
            <a:r>
              <a:rPr lang="fr-FR" dirty="0" err="1"/>
              <a:t>fields</a:t>
            </a:r>
            <a:r>
              <a:rPr lang="fr-FR" dirty="0"/>
              <a:t> of applications</a:t>
            </a:r>
          </a:p>
          <a:p>
            <a:endParaRPr lang="fr-FR" dirty="0"/>
          </a:p>
          <a:p>
            <a:r>
              <a:rPr lang="fr-FR" dirty="0"/>
              <a:t>PAUS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6144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Now</a:t>
            </a:r>
            <a:r>
              <a:rPr lang="fr-FR" dirty="0"/>
              <a:t> </a:t>
            </a:r>
            <a:r>
              <a:rPr lang="fr-FR" dirty="0" err="1"/>
              <a:t>let's</a:t>
            </a:r>
            <a:r>
              <a:rPr lang="fr-FR" dirty="0"/>
              <a:t> </a:t>
            </a:r>
            <a:r>
              <a:rPr lang="fr-FR" dirty="0" err="1"/>
              <a:t>see</a:t>
            </a:r>
            <a:r>
              <a:rPr lang="fr-FR" dirty="0"/>
              <a:t> more </a:t>
            </a:r>
            <a:r>
              <a:rPr lang="fr-FR" dirty="0" err="1"/>
              <a:t>precisely</a:t>
            </a:r>
            <a:r>
              <a:rPr lang="fr-FR" dirty="0"/>
              <a:t> the </a:t>
            </a:r>
            <a:r>
              <a:rPr lang="fr-FR" dirty="0" err="1"/>
              <a:t>context</a:t>
            </a:r>
            <a:r>
              <a:rPr lang="fr-FR" dirty="0"/>
              <a:t> and the contributions of </a:t>
            </a:r>
            <a:r>
              <a:rPr lang="fr-FR" dirty="0" err="1"/>
              <a:t>my</a:t>
            </a:r>
            <a:r>
              <a:rPr lang="fr-FR" dirty="0"/>
              <a:t> </a:t>
            </a:r>
            <a:r>
              <a:rPr lang="fr-FR" dirty="0" err="1"/>
              <a:t>works</a:t>
            </a:r>
            <a:endParaRPr lang="fr-FR" dirty="0"/>
          </a:p>
          <a:p>
            <a:endParaRPr lang="fr-FR" dirty="0"/>
          </a:p>
          <a:p>
            <a:r>
              <a:rPr lang="fr-FR" dirty="0"/>
              <a:t>The first setting: </a:t>
            </a:r>
            <a:r>
              <a:rPr lang="fr-FR" dirty="0" err="1"/>
              <a:t>poisoning</a:t>
            </a:r>
            <a:r>
              <a:rPr lang="fr-FR" dirty="0"/>
              <a:t> </a:t>
            </a:r>
            <a:r>
              <a:rPr lang="fr-FR" dirty="0" err="1"/>
              <a:t>attacks</a:t>
            </a:r>
            <a:r>
              <a:rPr lang="fr-FR" dirty="0"/>
              <a:t> for </a:t>
            </a:r>
            <a:r>
              <a:rPr lang="fr-FR" dirty="0" err="1"/>
              <a:t>ranking</a:t>
            </a:r>
            <a:r>
              <a:rPr lang="fr-FR" dirty="0"/>
              <a:t> data --&gt; more </a:t>
            </a:r>
            <a:r>
              <a:rPr lang="fr-FR" dirty="0" err="1"/>
              <a:t>precisely</a:t>
            </a:r>
            <a:r>
              <a:rPr lang="fr-FR" dirty="0"/>
              <a:t> </a:t>
            </a:r>
            <a:r>
              <a:rPr lang="fr-FR" dirty="0" err="1"/>
              <a:t>tackle</a:t>
            </a:r>
            <a:r>
              <a:rPr lang="fr-FR" dirty="0"/>
              <a:t> consensus </a:t>
            </a:r>
            <a:r>
              <a:rPr lang="fr-FR" dirty="0" err="1"/>
              <a:t>ranking</a:t>
            </a:r>
            <a:r>
              <a:rPr lang="fr-FR" dirty="0"/>
              <a:t> </a:t>
            </a:r>
            <a:r>
              <a:rPr lang="fr-FR" dirty="0" err="1"/>
              <a:t>task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1948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In the second setting the </a:t>
            </a:r>
            <a:r>
              <a:rPr lang="fr-FR" dirty="0" err="1"/>
              <a:t>context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very</a:t>
            </a:r>
            <a:r>
              <a:rPr lang="fr-FR" dirty="0"/>
              <a:t> </a:t>
            </a:r>
            <a:r>
              <a:rPr lang="fr-FR" dirty="0" err="1"/>
              <a:t>different</a:t>
            </a:r>
            <a:r>
              <a:rPr lang="fr-FR" dirty="0"/>
              <a:t> --&gt; </a:t>
            </a:r>
            <a:r>
              <a:rPr lang="fr-FR" dirty="0" err="1"/>
              <a:t>many</a:t>
            </a:r>
            <a:r>
              <a:rPr lang="fr-FR" dirty="0"/>
              <a:t> </a:t>
            </a:r>
            <a:r>
              <a:rPr lang="fr-FR" dirty="0" err="1"/>
              <a:t>many</a:t>
            </a:r>
            <a:r>
              <a:rPr lang="fr-FR" dirty="0"/>
              <a:t> </a:t>
            </a:r>
            <a:r>
              <a:rPr lang="fr-FR" dirty="0" err="1"/>
              <a:t>works</a:t>
            </a:r>
            <a:r>
              <a:rPr lang="fr-FR" dirty="0"/>
              <a:t> </a:t>
            </a:r>
            <a:r>
              <a:rPr lang="fr-FR" dirty="0" err="1"/>
              <a:t>since</a:t>
            </a:r>
            <a:r>
              <a:rPr lang="fr-FR" dirty="0"/>
              <a:t> 2013 on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robustness</a:t>
            </a:r>
            <a:endParaRPr lang="fr-FR" dirty="0"/>
          </a:p>
          <a:p>
            <a:endParaRPr lang="fr-FR" dirty="0"/>
          </a:p>
          <a:p>
            <a:r>
              <a:rPr lang="fr-FR" dirty="0"/>
              <a:t>PAUS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1380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Ok </a:t>
            </a:r>
            <a:r>
              <a:rPr lang="fr-FR" dirty="0" err="1"/>
              <a:t>so</a:t>
            </a:r>
            <a:r>
              <a:rPr lang="fr-FR" dirty="0"/>
              <a:t> </a:t>
            </a:r>
            <a:r>
              <a:rPr lang="fr-FR" dirty="0" err="1"/>
              <a:t>now</a:t>
            </a:r>
            <a:r>
              <a:rPr lang="fr-FR" dirty="0"/>
              <a:t> </a:t>
            </a:r>
            <a:r>
              <a:rPr lang="fr-FR" dirty="0" err="1"/>
              <a:t>let's</a:t>
            </a:r>
            <a:r>
              <a:rPr lang="fr-FR" dirty="0"/>
              <a:t> dive </a:t>
            </a:r>
            <a:r>
              <a:rPr lang="fr-FR" dirty="0" err="1"/>
              <a:t>into</a:t>
            </a:r>
            <a:r>
              <a:rPr lang="fr-FR" dirty="0"/>
              <a:t> </a:t>
            </a:r>
            <a:r>
              <a:rPr lang="fr-FR" dirty="0" err="1"/>
              <a:t>these</a:t>
            </a:r>
            <a:r>
              <a:rPr lang="fr-FR" dirty="0"/>
              <a:t> contributions </a:t>
            </a:r>
            <a:r>
              <a:rPr lang="fr-FR" dirty="0" err="1"/>
              <a:t>that</a:t>
            </a:r>
            <a:r>
              <a:rPr lang="fr-FR" dirty="0"/>
              <a:t> I </a:t>
            </a:r>
            <a:r>
              <a:rPr lang="fr-FR" dirty="0" err="1"/>
              <a:t>mentioned</a:t>
            </a:r>
            <a:r>
              <a:rPr lang="fr-FR" dirty="0"/>
              <a:t>, </a:t>
            </a:r>
            <a:r>
              <a:rPr lang="fr-FR" dirty="0" err="1"/>
              <a:t>starting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this</a:t>
            </a:r>
            <a:r>
              <a:rPr lang="fr-FR" dirty="0"/>
              <a:t> one..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4D1F2-5493-664C-9A78-84762AA9E20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526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White -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aphic 8">
            <a:extLst>
              <a:ext uri="{FF2B5EF4-FFF2-40B4-BE49-F238E27FC236}">
                <a16:creationId xmlns:a16="http://schemas.microsoft.com/office/drawing/2014/main" id="{726AEA4E-E270-4CAA-97F4-C7AD065F9D3A}"/>
              </a:ext>
            </a:extLst>
          </p:cNvPr>
          <p:cNvGrpSpPr/>
          <p:nvPr/>
        </p:nvGrpSpPr>
        <p:grpSpPr>
          <a:xfrm>
            <a:off x="4874388" y="-455826"/>
            <a:ext cx="7080367" cy="7769653"/>
            <a:chOff x="4874388" y="-455826"/>
            <a:chExt cx="7080367" cy="7769653"/>
          </a:xfrm>
        </p:grpSpPr>
        <p:sp>
          <p:nvSpPr>
            <p:cNvPr id="16" name="Graphic 8">
              <a:extLst>
                <a:ext uri="{FF2B5EF4-FFF2-40B4-BE49-F238E27FC236}">
                  <a16:creationId xmlns:a16="http://schemas.microsoft.com/office/drawing/2014/main" id="{7B97E23E-396F-4A53-AEF9-79F877255667}"/>
                </a:ext>
              </a:extLst>
            </p:cNvPr>
            <p:cNvSpPr/>
            <p:nvPr/>
          </p:nvSpPr>
          <p:spPr>
            <a:xfrm>
              <a:off x="10875650" y="2380137"/>
              <a:ext cx="667592" cy="2097702"/>
            </a:xfrm>
            <a:custGeom>
              <a:avLst/>
              <a:gdLst>
                <a:gd name="connsiteX0" fmla="*/ 272772 w 667592"/>
                <a:gd name="connsiteY0" fmla="*/ 2097703 h 2097702"/>
                <a:gd name="connsiteX1" fmla="*/ 188485 w 667592"/>
                <a:gd name="connsiteY1" fmla="*/ 2084394 h 2097702"/>
                <a:gd name="connsiteX2" fmla="*/ 13572 w 667592"/>
                <a:gd name="connsiteY2" fmla="*/ 1740907 h 2097702"/>
                <a:gd name="connsiteX3" fmla="*/ 122575 w 667592"/>
                <a:gd name="connsiteY3" fmla="*/ 1048863 h 2097702"/>
                <a:gd name="connsiteX4" fmla="*/ 13572 w 667592"/>
                <a:gd name="connsiteY4" fmla="*/ 356818 h 2097702"/>
                <a:gd name="connsiteX5" fmla="*/ 188485 w 667592"/>
                <a:gd name="connsiteY5" fmla="*/ 13331 h 2097702"/>
                <a:gd name="connsiteX6" fmla="*/ 531972 w 667592"/>
                <a:gd name="connsiteY6" fmla="*/ 188244 h 2097702"/>
                <a:gd name="connsiteX7" fmla="*/ 667593 w 667592"/>
                <a:gd name="connsiteY7" fmla="*/ 1048863 h 2097702"/>
                <a:gd name="connsiteX8" fmla="*/ 531972 w 667592"/>
                <a:gd name="connsiteY8" fmla="*/ 1909482 h 2097702"/>
                <a:gd name="connsiteX9" fmla="*/ 272772 w 667592"/>
                <a:gd name="connsiteY9" fmla="*/ 2097703 h 209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7592" h="2097702">
                  <a:moveTo>
                    <a:pt x="272772" y="2097703"/>
                  </a:moveTo>
                  <a:cubicBezTo>
                    <a:pt x="244887" y="2097703"/>
                    <a:pt x="216369" y="2093266"/>
                    <a:pt x="188485" y="2084394"/>
                  </a:cubicBezTo>
                  <a:cubicBezTo>
                    <a:pt x="45259" y="2038131"/>
                    <a:pt x="-33325" y="1884132"/>
                    <a:pt x="13572" y="1740907"/>
                  </a:cubicBezTo>
                  <a:cubicBezTo>
                    <a:pt x="85819" y="1518464"/>
                    <a:pt x="122575" y="1285248"/>
                    <a:pt x="122575" y="1048863"/>
                  </a:cubicBezTo>
                  <a:cubicBezTo>
                    <a:pt x="122575" y="812478"/>
                    <a:pt x="85819" y="579261"/>
                    <a:pt x="13572" y="356818"/>
                  </a:cubicBezTo>
                  <a:cubicBezTo>
                    <a:pt x="-32691" y="213593"/>
                    <a:pt x="45259" y="60228"/>
                    <a:pt x="188485" y="13331"/>
                  </a:cubicBezTo>
                  <a:cubicBezTo>
                    <a:pt x="331710" y="-32932"/>
                    <a:pt x="485075" y="45018"/>
                    <a:pt x="531972" y="188244"/>
                  </a:cubicBezTo>
                  <a:cubicBezTo>
                    <a:pt x="621963" y="465188"/>
                    <a:pt x="667593" y="754807"/>
                    <a:pt x="667593" y="1048863"/>
                  </a:cubicBezTo>
                  <a:cubicBezTo>
                    <a:pt x="667593" y="1342918"/>
                    <a:pt x="621963" y="1631904"/>
                    <a:pt x="531972" y="1909482"/>
                  </a:cubicBezTo>
                  <a:cubicBezTo>
                    <a:pt x="494581" y="2024189"/>
                    <a:pt x="387479" y="2097703"/>
                    <a:pt x="272772" y="2097703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Graphic 8">
              <a:extLst>
                <a:ext uri="{FF2B5EF4-FFF2-40B4-BE49-F238E27FC236}">
                  <a16:creationId xmlns:a16="http://schemas.microsoft.com/office/drawing/2014/main" id="{EA9E52D6-31EF-4FA1-B7D9-EAA0154F5E8E}"/>
                </a:ext>
              </a:extLst>
            </p:cNvPr>
            <p:cNvSpPr/>
            <p:nvPr/>
          </p:nvSpPr>
          <p:spPr>
            <a:xfrm>
              <a:off x="6097244" y="1679936"/>
              <a:ext cx="902651" cy="1245240"/>
            </a:xfrm>
            <a:custGeom>
              <a:avLst/>
              <a:gdLst>
                <a:gd name="connsiteX0" fmla="*/ 272772 w 902651"/>
                <a:gd name="connsiteY0" fmla="*/ 1245241 h 1245240"/>
                <a:gd name="connsiteX1" fmla="*/ 188484 w 902651"/>
                <a:gd name="connsiteY1" fmla="*/ 1231932 h 1245240"/>
                <a:gd name="connsiteX2" fmla="*/ 13572 w 902651"/>
                <a:gd name="connsiteY2" fmla="*/ 888445 h 1245240"/>
                <a:gd name="connsiteX3" fmla="*/ 409660 w 902651"/>
                <a:gd name="connsiteY3" fmla="*/ 112113 h 1245240"/>
                <a:gd name="connsiteX4" fmla="*/ 790538 w 902651"/>
                <a:gd name="connsiteY4" fmla="*/ 51908 h 1245240"/>
                <a:gd name="connsiteX5" fmla="*/ 850744 w 902651"/>
                <a:gd name="connsiteY5" fmla="*/ 432786 h 1245240"/>
                <a:gd name="connsiteX6" fmla="*/ 532606 w 902651"/>
                <a:gd name="connsiteY6" fmla="*/ 1056386 h 1245240"/>
                <a:gd name="connsiteX7" fmla="*/ 272772 w 902651"/>
                <a:gd name="connsiteY7" fmla="*/ 1245241 h 124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651" h="1245240">
                  <a:moveTo>
                    <a:pt x="272772" y="1245241"/>
                  </a:moveTo>
                  <a:cubicBezTo>
                    <a:pt x="244887" y="1245241"/>
                    <a:pt x="216369" y="1240804"/>
                    <a:pt x="188484" y="1231932"/>
                  </a:cubicBezTo>
                  <a:cubicBezTo>
                    <a:pt x="45259" y="1185669"/>
                    <a:pt x="-33325" y="1031670"/>
                    <a:pt x="13572" y="888445"/>
                  </a:cubicBezTo>
                  <a:cubicBezTo>
                    <a:pt x="103563" y="610233"/>
                    <a:pt x="237283" y="349132"/>
                    <a:pt x="409660" y="112113"/>
                  </a:cubicBezTo>
                  <a:cubicBezTo>
                    <a:pt x="498384" y="-9565"/>
                    <a:pt x="668860" y="-36182"/>
                    <a:pt x="790538" y="51908"/>
                  </a:cubicBezTo>
                  <a:cubicBezTo>
                    <a:pt x="912217" y="140632"/>
                    <a:pt x="938834" y="311108"/>
                    <a:pt x="850744" y="432786"/>
                  </a:cubicBezTo>
                  <a:cubicBezTo>
                    <a:pt x="711954" y="623541"/>
                    <a:pt x="604852" y="833309"/>
                    <a:pt x="532606" y="1056386"/>
                  </a:cubicBezTo>
                  <a:cubicBezTo>
                    <a:pt x="494581" y="1172360"/>
                    <a:pt x="387479" y="1245241"/>
                    <a:pt x="272772" y="1245241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Graphic 8">
              <a:extLst>
                <a:ext uri="{FF2B5EF4-FFF2-40B4-BE49-F238E27FC236}">
                  <a16:creationId xmlns:a16="http://schemas.microsoft.com/office/drawing/2014/main" id="{D249FE50-AD3F-4294-BCB6-BF9904692F2D}"/>
                </a:ext>
              </a:extLst>
            </p:cNvPr>
            <p:cNvSpPr/>
            <p:nvPr/>
          </p:nvSpPr>
          <p:spPr>
            <a:xfrm>
              <a:off x="6363463" y="-455826"/>
              <a:ext cx="5591292" cy="2033672"/>
            </a:xfrm>
            <a:custGeom>
              <a:avLst/>
              <a:gdLst>
                <a:gd name="connsiteX0" fmla="*/ 5318569 w 5591292"/>
                <a:gd name="connsiteY0" fmla="*/ 2033672 h 2033672"/>
                <a:gd name="connsiteX1" fmla="*/ 5098027 w 5591292"/>
                <a:gd name="connsiteY1" fmla="*/ 1921500 h 2033672"/>
                <a:gd name="connsiteX2" fmla="*/ 4359085 w 5591292"/>
                <a:gd name="connsiteY2" fmla="*/ 1182559 h 2033672"/>
                <a:gd name="connsiteX3" fmla="*/ 3428754 w 5591292"/>
                <a:gd name="connsiteY3" fmla="*/ 707888 h 2033672"/>
                <a:gd name="connsiteX4" fmla="*/ 2395756 w 5591292"/>
                <a:gd name="connsiteY4" fmla="*/ 545017 h 2033672"/>
                <a:gd name="connsiteX5" fmla="*/ 1363392 w 5591292"/>
                <a:gd name="connsiteY5" fmla="*/ 707254 h 2033672"/>
                <a:gd name="connsiteX6" fmla="*/ 433060 w 5591292"/>
                <a:gd name="connsiteY6" fmla="*/ 1181925 h 2033672"/>
                <a:gd name="connsiteX7" fmla="*/ 52182 w 5591292"/>
                <a:gd name="connsiteY7" fmla="*/ 1121720 h 2033672"/>
                <a:gd name="connsiteX8" fmla="*/ 112388 w 5591292"/>
                <a:gd name="connsiteY8" fmla="*/ 740842 h 2033672"/>
                <a:gd name="connsiteX9" fmla="*/ 1195451 w 5591292"/>
                <a:gd name="connsiteY9" fmla="*/ 188221 h 2033672"/>
                <a:gd name="connsiteX10" fmla="*/ 2395756 w 5591292"/>
                <a:gd name="connsiteY10" fmla="*/ 0 h 2033672"/>
                <a:gd name="connsiteX11" fmla="*/ 3596695 w 5591292"/>
                <a:gd name="connsiteY11" fmla="*/ 189488 h 2033672"/>
                <a:gd name="connsiteX12" fmla="*/ 4679758 w 5591292"/>
                <a:gd name="connsiteY12" fmla="*/ 742110 h 2033672"/>
                <a:gd name="connsiteX13" fmla="*/ 5539111 w 5591292"/>
                <a:gd name="connsiteY13" fmla="*/ 1601461 h 2033672"/>
                <a:gd name="connsiteX14" fmla="*/ 5478905 w 5591292"/>
                <a:gd name="connsiteY14" fmla="*/ 1982339 h 2033672"/>
                <a:gd name="connsiteX15" fmla="*/ 5318569 w 5591292"/>
                <a:gd name="connsiteY15" fmla="*/ 2033672 h 203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91292" h="2033672">
                  <a:moveTo>
                    <a:pt x="5318569" y="2033672"/>
                  </a:moveTo>
                  <a:cubicBezTo>
                    <a:pt x="5234281" y="2033672"/>
                    <a:pt x="5151262" y="1995014"/>
                    <a:pt x="5098027" y="1921500"/>
                  </a:cubicBezTo>
                  <a:cubicBezTo>
                    <a:pt x="4891427" y="1637585"/>
                    <a:pt x="4642367" y="1389158"/>
                    <a:pt x="4359085" y="1182559"/>
                  </a:cubicBezTo>
                  <a:cubicBezTo>
                    <a:pt x="4074536" y="975326"/>
                    <a:pt x="3761467" y="815624"/>
                    <a:pt x="3428754" y="707888"/>
                  </a:cubicBezTo>
                  <a:cubicBezTo>
                    <a:pt x="3096040" y="599518"/>
                    <a:pt x="2748750" y="545017"/>
                    <a:pt x="2395756" y="545017"/>
                  </a:cubicBezTo>
                  <a:cubicBezTo>
                    <a:pt x="2042762" y="545017"/>
                    <a:pt x="1695472" y="599518"/>
                    <a:pt x="1363392" y="707254"/>
                  </a:cubicBezTo>
                  <a:cubicBezTo>
                    <a:pt x="1030044" y="815624"/>
                    <a:pt x="716976" y="975326"/>
                    <a:pt x="433060" y="1181925"/>
                  </a:cubicBezTo>
                  <a:cubicBezTo>
                    <a:pt x="311382" y="1270649"/>
                    <a:pt x="140906" y="1243398"/>
                    <a:pt x="52182" y="1121720"/>
                  </a:cubicBezTo>
                  <a:cubicBezTo>
                    <a:pt x="-36541" y="1000042"/>
                    <a:pt x="-9291" y="829566"/>
                    <a:pt x="112388" y="740842"/>
                  </a:cubicBezTo>
                  <a:cubicBezTo>
                    <a:pt x="443200" y="500021"/>
                    <a:pt x="807601" y="314335"/>
                    <a:pt x="1195451" y="188221"/>
                  </a:cubicBezTo>
                  <a:cubicBezTo>
                    <a:pt x="1581399" y="63374"/>
                    <a:pt x="1985726" y="0"/>
                    <a:pt x="2395756" y="0"/>
                  </a:cubicBezTo>
                  <a:cubicBezTo>
                    <a:pt x="2805786" y="0"/>
                    <a:pt x="3210113" y="63374"/>
                    <a:pt x="3596695" y="189488"/>
                  </a:cubicBezTo>
                  <a:cubicBezTo>
                    <a:pt x="3984544" y="315603"/>
                    <a:pt x="4348945" y="501288"/>
                    <a:pt x="4679758" y="742110"/>
                  </a:cubicBezTo>
                  <a:cubicBezTo>
                    <a:pt x="5009937" y="982297"/>
                    <a:pt x="5298923" y="1271283"/>
                    <a:pt x="5539111" y="1601461"/>
                  </a:cubicBezTo>
                  <a:cubicBezTo>
                    <a:pt x="5627834" y="1723139"/>
                    <a:pt x="5600583" y="1893616"/>
                    <a:pt x="5478905" y="1982339"/>
                  </a:cubicBezTo>
                  <a:cubicBezTo>
                    <a:pt x="5430108" y="2017195"/>
                    <a:pt x="5374338" y="2033672"/>
                    <a:pt x="5318569" y="2033672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Graphic 8">
              <a:extLst>
                <a:ext uri="{FF2B5EF4-FFF2-40B4-BE49-F238E27FC236}">
                  <a16:creationId xmlns:a16="http://schemas.microsoft.com/office/drawing/2014/main" id="{5A110A60-A130-4267-A6FF-E5A5A23B7106}"/>
                </a:ext>
              </a:extLst>
            </p:cNvPr>
            <p:cNvSpPr/>
            <p:nvPr/>
          </p:nvSpPr>
          <p:spPr>
            <a:xfrm>
              <a:off x="4874388" y="3156492"/>
              <a:ext cx="1234108" cy="2668679"/>
            </a:xfrm>
            <a:custGeom>
              <a:avLst/>
              <a:gdLst>
                <a:gd name="connsiteX0" fmla="*/ 962652 w 1234108"/>
                <a:gd name="connsiteY0" fmla="*/ 2668680 h 2668679"/>
                <a:gd name="connsiteX1" fmla="*/ 742111 w 1234108"/>
                <a:gd name="connsiteY1" fmla="*/ 2556508 h 2668679"/>
                <a:gd name="connsiteX2" fmla="*/ 189489 w 1234108"/>
                <a:gd name="connsiteY2" fmla="*/ 1473446 h 2668679"/>
                <a:gd name="connsiteX3" fmla="*/ 0 w 1234108"/>
                <a:gd name="connsiteY3" fmla="*/ 272508 h 2668679"/>
                <a:gd name="connsiteX4" fmla="*/ 272509 w 1234108"/>
                <a:gd name="connsiteY4" fmla="*/ 0 h 2668679"/>
                <a:gd name="connsiteX5" fmla="*/ 545017 w 1234108"/>
                <a:gd name="connsiteY5" fmla="*/ 272508 h 2668679"/>
                <a:gd name="connsiteX6" fmla="*/ 707255 w 1234108"/>
                <a:gd name="connsiteY6" fmla="*/ 1304871 h 2668679"/>
                <a:gd name="connsiteX7" fmla="*/ 1181927 w 1234108"/>
                <a:gd name="connsiteY7" fmla="*/ 2235835 h 2668679"/>
                <a:gd name="connsiteX8" fmla="*/ 1121721 w 1234108"/>
                <a:gd name="connsiteY8" fmla="*/ 2616713 h 2668679"/>
                <a:gd name="connsiteX9" fmla="*/ 962652 w 1234108"/>
                <a:gd name="connsiteY9" fmla="*/ 2668680 h 2668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4108" h="2668679">
                  <a:moveTo>
                    <a:pt x="962652" y="2668680"/>
                  </a:moveTo>
                  <a:cubicBezTo>
                    <a:pt x="878365" y="2668680"/>
                    <a:pt x="795345" y="2630022"/>
                    <a:pt x="742111" y="2556508"/>
                  </a:cubicBezTo>
                  <a:cubicBezTo>
                    <a:pt x="501289" y="2225696"/>
                    <a:pt x="315603" y="1861295"/>
                    <a:pt x="189489" y="1473446"/>
                  </a:cubicBezTo>
                  <a:cubicBezTo>
                    <a:pt x="63374" y="1086864"/>
                    <a:pt x="0" y="682538"/>
                    <a:pt x="0" y="272508"/>
                  </a:cubicBezTo>
                  <a:cubicBezTo>
                    <a:pt x="0" y="122312"/>
                    <a:pt x="122312" y="0"/>
                    <a:pt x="272509" y="0"/>
                  </a:cubicBezTo>
                  <a:cubicBezTo>
                    <a:pt x="422705" y="0"/>
                    <a:pt x="545017" y="122312"/>
                    <a:pt x="545017" y="272508"/>
                  </a:cubicBezTo>
                  <a:cubicBezTo>
                    <a:pt x="545017" y="625502"/>
                    <a:pt x="599519" y="972791"/>
                    <a:pt x="707255" y="1304871"/>
                  </a:cubicBezTo>
                  <a:cubicBezTo>
                    <a:pt x="815624" y="1638218"/>
                    <a:pt x="975327" y="1951286"/>
                    <a:pt x="1181927" y="2235835"/>
                  </a:cubicBezTo>
                  <a:cubicBezTo>
                    <a:pt x="1270650" y="2357513"/>
                    <a:pt x="1243400" y="2527990"/>
                    <a:pt x="1121721" y="2616713"/>
                  </a:cubicBezTo>
                  <a:cubicBezTo>
                    <a:pt x="1074191" y="2651569"/>
                    <a:pt x="1017788" y="2668680"/>
                    <a:pt x="962652" y="2668680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Graphic 8">
              <a:extLst>
                <a:ext uri="{FF2B5EF4-FFF2-40B4-BE49-F238E27FC236}">
                  <a16:creationId xmlns:a16="http://schemas.microsoft.com/office/drawing/2014/main" id="{BE0D807C-8331-4063-85DF-BACD56B5C8B9}"/>
                </a:ext>
              </a:extLst>
            </p:cNvPr>
            <p:cNvSpPr/>
            <p:nvPr/>
          </p:nvSpPr>
          <p:spPr>
            <a:xfrm>
              <a:off x="7369796" y="6592368"/>
              <a:ext cx="2778846" cy="721459"/>
            </a:xfrm>
            <a:custGeom>
              <a:avLst/>
              <a:gdLst>
                <a:gd name="connsiteX0" fmla="*/ 1389423 w 2778846"/>
                <a:gd name="connsiteY0" fmla="*/ 721460 h 721459"/>
                <a:gd name="connsiteX1" fmla="*/ 188485 w 2778846"/>
                <a:gd name="connsiteY1" fmla="*/ 531971 h 721459"/>
                <a:gd name="connsiteX2" fmla="*/ 13572 w 2778846"/>
                <a:gd name="connsiteY2" fmla="*/ 188484 h 721459"/>
                <a:gd name="connsiteX3" fmla="*/ 357060 w 2778846"/>
                <a:gd name="connsiteY3" fmla="*/ 13572 h 721459"/>
                <a:gd name="connsiteX4" fmla="*/ 1389423 w 2778846"/>
                <a:gd name="connsiteY4" fmla="*/ 175809 h 721459"/>
                <a:gd name="connsiteX5" fmla="*/ 2421787 w 2778846"/>
                <a:gd name="connsiteY5" fmla="*/ 13572 h 721459"/>
                <a:gd name="connsiteX6" fmla="*/ 2765275 w 2778846"/>
                <a:gd name="connsiteY6" fmla="*/ 188484 h 721459"/>
                <a:gd name="connsiteX7" fmla="*/ 2590362 w 2778846"/>
                <a:gd name="connsiteY7" fmla="*/ 531971 h 721459"/>
                <a:gd name="connsiteX8" fmla="*/ 1389423 w 2778846"/>
                <a:gd name="connsiteY8" fmla="*/ 721460 h 721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8846" h="721459">
                  <a:moveTo>
                    <a:pt x="1389423" y="721460"/>
                  </a:moveTo>
                  <a:cubicBezTo>
                    <a:pt x="979393" y="721460"/>
                    <a:pt x="575066" y="658086"/>
                    <a:pt x="188485" y="531971"/>
                  </a:cubicBezTo>
                  <a:cubicBezTo>
                    <a:pt x="45259" y="485709"/>
                    <a:pt x="-33325" y="331709"/>
                    <a:pt x="13572" y="188484"/>
                  </a:cubicBezTo>
                  <a:cubicBezTo>
                    <a:pt x="59835" y="45259"/>
                    <a:pt x="213834" y="-33325"/>
                    <a:pt x="357060" y="13572"/>
                  </a:cubicBezTo>
                  <a:cubicBezTo>
                    <a:pt x="689140" y="121308"/>
                    <a:pt x="1036430" y="175809"/>
                    <a:pt x="1389423" y="175809"/>
                  </a:cubicBezTo>
                  <a:cubicBezTo>
                    <a:pt x="1742417" y="175809"/>
                    <a:pt x="2089707" y="121308"/>
                    <a:pt x="2421787" y="13572"/>
                  </a:cubicBezTo>
                  <a:cubicBezTo>
                    <a:pt x="2565013" y="-32691"/>
                    <a:pt x="2718378" y="45259"/>
                    <a:pt x="2765275" y="188484"/>
                  </a:cubicBezTo>
                  <a:cubicBezTo>
                    <a:pt x="2812172" y="331709"/>
                    <a:pt x="2733588" y="485074"/>
                    <a:pt x="2590362" y="531971"/>
                  </a:cubicBezTo>
                  <a:cubicBezTo>
                    <a:pt x="2203780" y="658086"/>
                    <a:pt x="1799454" y="721460"/>
                    <a:pt x="1389423" y="721460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Graphic 8">
              <a:extLst>
                <a:ext uri="{FF2B5EF4-FFF2-40B4-BE49-F238E27FC236}">
                  <a16:creationId xmlns:a16="http://schemas.microsoft.com/office/drawing/2014/main" id="{D5A18019-7F56-409E-BE64-40C51C5080C3}"/>
                </a:ext>
              </a:extLst>
            </p:cNvPr>
            <p:cNvSpPr/>
            <p:nvPr/>
          </p:nvSpPr>
          <p:spPr>
            <a:xfrm>
              <a:off x="5730572" y="833200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7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7"/>
                    <a:pt x="272509" y="545017"/>
                  </a:cubicBezTo>
                  <a:cubicBezTo>
                    <a:pt x="122006" y="545017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Graphic 8">
              <a:extLst>
                <a:ext uri="{FF2B5EF4-FFF2-40B4-BE49-F238E27FC236}">
                  <a16:creationId xmlns:a16="http://schemas.microsoft.com/office/drawing/2014/main" id="{426CF1F7-3455-48CE-B2B9-E7D9706647BE}"/>
                </a:ext>
              </a:extLst>
            </p:cNvPr>
            <p:cNvSpPr/>
            <p:nvPr/>
          </p:nvSpPr>
          <p:spPr>
            <a:xfrm>
              <a:off x="5973928" y="3150788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6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6"/>
                    <a:pt x="272509" y="545016"/>
                  </a:cubicBezTo>
                  <a:cubicBezTo>
                    <a:pt x="122006" y="545016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998A4ECE-E81E-4E4E-80F6-C53DC29AF2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70503" y="628114"/>
            <a:ext cx="6542105" cy="5963613"/>
          </a:xfrm>
          <a:custGeom>
            <a:avLst/>
            <a:gdLst>
              <a:gd name="connsiteX0" fmla="*/ 544936 w 6542105"/>
              <a:gd name="connsiteY0" fmla="*/ 5419454 h 5963613"/>
              <a:gd name="connsiteX1" fmla="*/ 789759 w 6542105"/>
              <a:gd name="connsiteY1" fmla="*/ 5593386 h 5963613"/>
              <a:gd name="connsiteX2" fmla="*/ 633332 w 6542105"/>
              <a:gd name="connsiteY2" fmla="*/ 5945505 h 5963613"/>
              <a:gd name="connsiteX3" fmla="*/ 281212 w 6542105"/>
              <a:gd name="connsiteY3" fmla="*/ 5789078 h 5963613"/>
              <a:gd name="connsiteX4" fmla="*/ 438273 w 6542105"/>
              <a:gd name="connsiteY4" fmla="*/ 5437592 h 5963613"/>
              <a:gd name="connsiteX5" fmla="*/ 544936 w 6542105"/>
              <a:gd name="connsiteY5" fmla="*/ 5419454 h 5963613"/>
              <a:gd name="connsiteX6" fmla="*/ 4125958 w 6542105"/>
              <a:gd name="connsiteY6" fmla="*/ 4540415 h 5963613"/>
              <a:gd name="connsiteX7" fmla="*/ 4355922 w 6542105"/>
              <a:gd name="connsiteY7" fmla="*/ 4652288 h 5963613"/>
              <a:gd name="connsiteX8" fmla="*/ 4295758 w 6542105"/>
              <a:gd name="connsiteY8" fmla="*/ 5032908 h 5963613"/>
              <a:gd name="connsiteX9" fmla="*/ 3519955 w 6542105"/>
              <a:gd name="connsiteY9" fmla="*/ 5428726 h 5963613"/>
              <a:gd name="connsiteX10" fmla="*/ 2660554 w 6542105"/>
              <a:gd name="connsiteY10" fmla="*/ 5563620 h 5963613"/>
              <a:gd name="connsiteX11" fmla="*/ 2388231 w 6542105"/>
              <a:gd name="connsiteY11" fmla="*/ 5291297 h 5963613"/>
              <a:gd name="connsiteX12" fmla="*/ 2660554 w 6542105"/>
              <a:gd name="connsiteY12" fmla="*/ 5018975 h 5963613"/>
              <a:gd name="connsiteX13" fmla="*/ 3352127 w 6542105"/>
              <a:gd name="connsiteY13" fmla="*/ 4910046 h 5963613"/>
              <a:gd name="connsiteX14" fmla="*/ 3975304 w 6542105"/>
              <a:gd name="connsiteY14" fmla="*/ 4592124 h 5963613"/>
              <a:gd name="connsiteX15" fmla="*/ 4125958 w 6542105"/>
              <a:gd name="connsiteY15" fmla="*/ 4540415 h 5963613"/>
              <a:gd name="connsiteX16" fmla="*/ 295541 w 6542105"/>
              <a:gd name="connsiteY16" fmla="*/ 3286587 h 5963613"/>
              <a:gd name="connsiteX17" fmla="*/ 531370 w 6542105"/>
              <a:gd name="connsiteY17" fmla="*/ 3473700 h 5963613"/>
              <a:gd name="connsiteX18" fmla="*/ 849290 w 6542105"/>
              <a:gd name="connsiteY18" fmla="*/ 4096877 h 5963613"/>
              <a:gd name="connsiteX19" fmla="*/ 1344538 w 6542105"/>
              <a:gd name="connsiteY19" fmla="*/ 4592124 h 5963613"/>
              <a:gd name="connsiteX20" fmla="*/ 1404703 w 6542105"/>
              <a:gd name="connsiteY20" fmla="*/ 4972743 h 5963613"/>
              <a:gd name="connsiteX21" fmla="*/ 1184311 w 6542105"/>
              <a:gd name="connsiteY21" fmla="*/ 5084839 h 5963613"/>
              <a:gd name="connsiteX22" fmla="*/ 1024083 w 6542105"/>
              <a:gd name="connsiteY22" fmla="*/ 5032908 h 5963613"/>
              <a:gd name="connsiteX23" fmla="*/ 409141 w 6542105"/>
              <a:gd name="connsiteY23" fmla="*/ 4417964 h 5963613"/>
              <a:gd name="connsiteX24" fmla="*/ 13323 w 6542105"/>
              <a:gd name="connsiteY24" fmla="*/ 3642160 h 5963613"/>
              <a:gd name="connsiteX25" fmla="*/ 188116 w 6542105"/>
              <a:gd name="connsiteY25" fmla="*/ 3298907 h 5963613"/>
              <a:gd name="connsiteX26" fmla="*/ 295541 w 6542105"/>
              <a:gd name="connsiteY26" fmla="*/ 3286587 h 5963613"/>
              <a:gd name="connsiteX27" fmla="*/ 6269782 w 6542105"/>
              <a:gd name="connsiteY27" fmla="*/ 2509804 h 5963613"/>
              <a:gd name="connsiteX28" fmla="*/ 6542105 w 6542105"/>
              <a:gd name="connsiteY28" fmla="*/ 2782127 h 5963613"/>
              <a:gd name="connsiteX29" fmla="*/ 6352746 w 6542105"/>
              <a:gd name="connsiteY29" fmla="*/ 3982247 h 5963613"/>
              <a:gd name="connsiteX30" fmla="*/ 5800501 w 6542105"/>
              <a:gd name="connsiteY30" fmla="*/ 5064573 h 5963613"/>
              <a:gd name="connsiteX31" fmla="*/ 5581375 w 6542105"/>
              <a:gd name="connsiteY31" fmla="*/ 5176035 h 5963613"/>
              <a:gd name="connsiteX32" fmla="*/ 5421148 w 6542105"/>
              <a:gd name="connsiteY32" fmla="*/ 5124104 h 5963613"/>
              <a:gd name="connsiteX33" fmla="*/ 5360984 w 6542105"/>
              <a:gd name="connsiteY33" fmla="*/ 4743485 h 5963613"/>
              <a:gd name="connsiteX34" fmla="*/ 5835333 w 6542105"/>
              <a:gd name="connsiteY34" fmla="*/ 3813788 h 5963613"/>
              <a:gd name="connsiteX35" fmla="*/ 5997460 w 6542105"/>
              <a:gd name="connsiteY35" fmla="*/ 2782127 h 5963613"/>
              <a:gd name="connsiteX36" fmla="*/ 6269782 w 6542105"/>
              <a:gd name="connsiteY36" fmla="*/ 2509804 h 5963613"/>
              <a:gd name="connsiteX37" fmla="*/ 6135766 w 6542105"/>
              <a:gd name="connsiteY37" fmla="*/ 1422832 h 5963613"/>
              <a:gd name="connsiteX38" fmla="*/ 6189985 w 6542105"/>
              <a:gd name="connsiteY38" fmla="*/ 1432546 h 5963613"/>
              <a:gd name="connsiteX39" fmla="*/ 6376812 w 6542105"/>
              <a:gd name="connsiteY39" fmla="*/ 1769466 h 5963613"/>
              <a:gd name="connsiteX40" fmla="*/ 6039891 w 6542105"/>
              <a:gd name="connsiteY40" fmla="*/ 1956292 h 5963613"/>
              <a:gd name="connsiteX41" fmla="*/ 5853065 w 6542105"/>
              <a:gd name="connsiteY41" fmla="*/ 1619371 h 5963613"/>
              <a:gd name="connsiteX42" fmla="*/ 6135766 w 6542105"/>
              <a:gd name="connsiteY42" fmla="*/ 1422832 h 5963613"/>
              <a:gd name="connsiteX43" fmla="*/ 2659921 w 6542105"/>
              <a:gd name="connsiteY43" fmla="*/ 1097525 h 5963613"/>
              <a:gd name="connsiteX44" fmla="*/ 4344523 w 6542105"/>
              <a:gd name="connsiteY44" fmla="*/ 2782127 h 5963613"/>
              <a:gd name="connsiteX45" fmla="*/ 2659921 w 6542105"/>
              <a:gd name="connsiteY45" fmla="*/ 4466729 h 5963613"/>
              <a:gd name="connsiteX46" fmla="*/ 975319 w 6542105"/>
              <a:gd name="connsiteY46" fmla="*/ 2782127 h 5963613"/>
              <a:gd name="connsiteX47" fmla="*/ 2659921 w 6542105"/>
              <a:gd name="connsiteY47" fmla="*/ 1097525 h 5963613"/>
              <a:gd name="connsiteX48" fmla="*/ 1161512 w 6542105"/>
              <a:gd name="connsiteY48" fmla="*/ 462316 h 5963613"/>
              <a:gd name="connsiteX49" fmla="*/ 1447767 w 6542105"/>
              <a:gd name="connsiteY49" fmla="*/ 720073 h 5963613"/>
              <a:gd name="connsiteX50" fmla="*/ 1190011 w 6542105"/>
              <a:gd name="connsiteY50" fmla="*/ 1006329 h 5963613"/>
              <a:gd name="connsiteX51" fmla="*/ 903755 w 6542105"/>
              <a:gd name="connsiteY51" fmla="*/ 748571 h 5963613"/>
              <a:gd name="connsiteX52" fmla="*/ 1161512 w 6542105"/>
              <a:gd name="connsiteY52" fmla="*/ 462316 h 5963613"/>
              <a:gd name="connsiteX53" fmla="*/ 2659921 w 6542105"/>
              <a:gd name="connsiteY53" fmla="*/ 0 h 5963613"/>
              <a:gd name="connsiteX54" fmla="*/ 3519321 w 6542105"/>
              <a:gd name="connsiteY54" fmla="*/ 135528 h 5963613"/>
              <a:gd name="connsiteX55" fmla="*/ 4295125 w 6542105"/>
              <a:gd name="connsiteY55" fmla="*/ 531346 h 5963613"/>
              <a:gd name="connsiteX56" fmla="*/ 4355289 w 6542105"/>
              <a:gd name="connsiteY56" fmla="*/ 911965 h 5963613"/>
              <a:gd name="connsiteX57" fmla="*/ 4134898 w 6542105"/>
              <a:gd name="connsiteY57" fmla="*/ 1023427 h 5963613"/>
              <a:gd name="connsiteX58" fmla="*/ 3974670 w 6542105"/>
              <a:gd name="connsiteY58" fmla="*/ 971496 h 5963613"/>
              <a:gd name="connsiteX59" fmla="*/ 3351494 w 6542105"/>
              <a:gd name="connsiteY59" fmla="*/ 653575 h 5963613"/>
              <a:gd name="connsiteX60" fmla="*/ 2659921 w 6542105"/>
              <a:gd name="connsiteY60" fmla="*/ 544646 h 5963613"/>
              <a:gd name="connsiteX61" fmla="*/ 1968347 w 6542105"/>
              <a:gd name="connsiteY61" fmla="*/ 653575 h 5963613"/>
              <a:gd name="connsiteX62" fmla="*/ 1625094 w 6542105"/>
              <a:gd name="connsiteY62" fmla="*/ 478782 h 5963613"/>
              <a:gd name="connsiteX63" fmla="*/ 1799888 w 6542105"/>
              <a:gd name="connsiteY63" fmla="*/ 135528 h 5963613"/>
              <a:gd name="connsiteX64" fmla="*/ 2659921 w 6542105"/>
              <a:gd name="connsiteY64" fmla="*/ 0 h 5963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542105" h="5963613">
                <a:moveTo>
                  <a:pt x="544936" y="5419454"/>
                </a:moveTo>
                <a:cubicBezTo>
                  <a:pt x="650946" y="5422749"/>
                  <a:pt x="749386" y="5487940"/>
                  <a:pt x="789759" y="5593386"/>
                </a:cubicBezTo>
                <a:cubicBezTo>
                  <a:pt x="843591" y="5733981"/>
                  <a:pt x="773926" y="5891674"/>
                  <a:pt x="633332" y="5945505"/>
                </a:cubicBezTo>
                <a:cubicBezTo>
                  <a:pt x="492737" y="5999337"/>
                  <a:pt x="335044" y="5929040"/>
                  <a:pt x="281212" y="5789078"/>
                </a:cubicBezTo>
                <a:cubicBezTo>
                  <a:pt x="227381" y="5649118"/>
                  <a:pt x="297678" y="5491423"/>
                  <a:pt x="438273" y="5437592"/>
                </a:cubicBezTo>
                <a:cubicBezTo>
                  <a:pt x="473422" y="5424134"/>
                  <a:pt x="509600" y="5418355"/>
                  <a:pt x="544936" y="5419454"/>
                </a:cubicBezTo>
                <a:close/>
                <a:moveTo>
                  <a:pt x="4125958" y="4540415"/>
                </a:moveTo>
                <a:cubicBezTo>
                  <a:pt x="4213478" y="4537403"/>
                  <a:pt x="4300904" y="4576292"/>
                  <a:pt x="4355922" y="4652288"/>
                </a:cubicBezTo>
                <a:cubicBezTo>
                  <a:pt x="4443953" y="4773884"/>
                  <a:pt x="4417353" y="4944244"/>
                  <a:pt x="4295758" y="5032908"/>
                </a:cubicBezTo>
                <a:cubicBezTo>
                  <a:pt x="4058901" y="5205168"/>
                  <a:pt x="3797977" y="5338796"/>
                  <a:pt x="3519955" y="5428726"/>
                </a:cubicBezTo>
                <a:cubicBezTo>
                  <a:pt x="3242565" y="5518655"/>
                  <a:pt x="2953776" y="5564254"/>
                  <a:pt x="2660554" y="5563620"/>
                </a:cubicBezTo>
                <a:cubicBezTo>
                  <a:pt x="2510460" y="5563620"/>
                  <a:pt x="2388231" y="5441392"/>
                  <a:pt x="2388231" y="5291297"/>
                </a:cubicBezTo>
                <a:cubicBezTo>
                  <a:pt x="2388231" y="5141203"/>
                  <a:pt x="2510460" y="5018975"/>
                  <a:pt x="2660554" y="5018975"/>
                </a:cubicBezTo>
                <a:cubicBezTo>
                  <a:pt x="2896779" y="5018975"/>
                  <a:pt x="3129836" y="4982243"/>
                  <a:pt x="3352127" y="4910046"/>
                </a:cubicBezTo>
                <a:cubicBezTo>
                  <a:pt x="3575053" y="4837848"/>
                  <a:pt x="3784677" y="4730819"/>
                  <a:pt x="3975304" y="4592124"/>
                </a:cubicBezTo>
                <a:cubicBezTo>
                  <a:pt x="4020902" y="4559113"/>
                  <a:pt x="4073447" y="4542222"/>
                  <a:pt x="4125958" y="4540415"/>
                </a:cubicBezTo>
                <a:close/>
                <a:moveTo>
                  <a:pt x="295541" y="3286587"/>
                </a:moveTo>
                <a:cubicBezTo>
                  <a:pt x="401224" y="3295701"/>
                  <a:pt x="496221" y="3366354"/>
                  <a:pt x="531370" y="3473700"/>
                </a:cubicBezTo>
                <a:cubicBezTo>
                  <a:pt x="603566" y="3696625"/>
                  <a:pt x="710596" y="3906250"/>
                  <a:pt x="849290" y="4096877"/>
                </a:cubicBezTo>
                <a:cubicBezTo>
                  <a:pt x="987985" y="4286870"/>
                  <a:pt x="1154546" y="4454063"/>
                  <a:pt x="1344538" y="4592124"/>
                </a:cubicBezTo>
                <a:cubicBezTo>
                  <a:pt x="1466133" y="4680787"/>
                  <a:pt x="1492732" y="4851147"/>
                  <a:pt x="1404703" y="4972743"/>
                </a:cubicBezTo>
                <a:cubicBezTo>
                  <a:pt x="1351505" y="5046207"/>
                  <a:pt x="1268541" y="5084839"/>
                  <a:pt x="1184311" y="5084839"/>
                </a:cubicBezTo>
                <a:cubicBezTo>
                  <a:pt x="1128580" y="5084839"/>
                  <a:pt x="1072848" y="5067739"/>
                  <a:pt x="1024083" y="5032908"/>
                </a:cubicBezTo>
                <a:cubicBezTo>
                  <a:pt x="787860" y="4860648"/>
                  <a:pt x="580768" y="4654189"/>
                  <a:pt x="409141" y="4417964"/>
                </a:cubicBezTo>
                <a:cubicBezTo>
                  <a:pt x="236881" y="4181107"/>
                  <a:pt x="103252" y="3920183"/>
                  <a:pt x="13323" y="3642160"/>
                </a:cubicBezTo>
                <a:cubicBezTo>
                  <a:pt x="-32909" y="3499033"/>
                  <a:pt x="44988" y="3345772"/>
                  <a:pt x="188116" y="3298907"/>
                </a:cubicBezTo>
                <a:cubicBezTo>
                  <a:pt x="223898" y="3287349"/>
                  <a:pt x="260313" y="3283549"/>
                  <a:pt x="295541" y="3286587"/>
                </a:cubicBezTo>
                <a:close/>
                <a:moveTo>
                  <a:pt x="6269782" y="2509804"/>
                </a:moveTo>
                <a:cubicBezTo>
                  <a:pt x="6419877" y="2509804"/>
                  <a:pt x="6542105" y="2632033"/>
                  <a:pt x="6542105" y="2782127"/>
                </a:cubicBezTo>
                <a:cubicBezTo>
                  <a:pt x="6542105" y="3191878"/>
                  <a:pt x="6478141" y="3595929"/>
                  <a:pt x="6352746" y="3982247"/>
                </a:cubicBezTo>
                <a:cubicBezTo>
                  <a:pt x="6226717" y="4369833"/>
                  <a:pt x="6041157" y="4733986"/>
                  <a:pt x="5800501" y="5064573"/>
                </a:cubicBezTo>
                <a:cubicBezTo>
                  <a:pt x="5747302" y="5137404"/>
                  <a:pt x="5664339" y="5176669"/>
                  <a:pt x="5581375" y="5176035"/>
                </a:cubicBezTo>
                <a:cubicBezTo>
                  <a:pt x="5525645" y="5176035"/>
                  <a:pt x="5469279" y="5159569"/>
                  <a:pt x="5421148" y="5124104"/>
                </a:cubicBezTo>
                <a:cubicBezTo>
                  <a:pt x="5299553" y="5035441"/>
                  <a:pt x="5272321" y="4865081"/>
                  <a:pt x="5360984" y="4743485"/>
                </a:cubicBezTo>
                <a:cubicBezTo>
                  <a:pt x="5567443" y="4459763"/>
                  <a:pt x="5727037" y="4146908"/>
                  <a:pt x="5835333" y="3813788"/>
                </a:cubicBezTo>
                <a:cubicBezTo>
                  <a:pt x="5942995" y="3481933"/>
                  <a:pt x="5997460" y="3134880"/>
                  <a:pt x="5997460" y="2782127"/>
                </a:cubicBezTo>
                <a:cubicBezTo>
                  <a:pt x="5997460" y="2632033"/>
                  <a:pt x="6119688" y="2509804"/>
                  <a:pt x="6269782" y="2509804"/>
                </a:cubicBezTo>
                <a:close/>
                <a:moveTo>
                  <a:pt x="6135766" y="1422832"/>
                </a:moveTo>
                <a:cubicBezTo>
                  <a:pt x="6153788" y="1424204"/>
                  <a:pt x="6171936" y="1427400"/>
                  <a:pt x="6189985" y="1432546"/>
                </a:cubicBezTo>
                <a:cubicBezTo>
                  <a:pt x="6334380" y="1474343"/>
                  <a:pt x="6418609" y="1625071"/>
                  <a:pt x="6376812" y="1769466"/>
                </a:cubicBezTo>
                <a:cubicBezTo>
                  <a:pt x="6335013" y="1913860"/>
                  <a:pt x="6184285" y="1997457"/>
                  <a:pt x="6039891" y="1956292"/>
                </a:cubicBezTo>
                <a:cubicBezTo>
                  <a:pt x="5895497" y="1915127"/>
                  <a:pt x="5811267" y="1763766"/>
                  <a:pt x="5853065" y="1619371"/>
                </a:cubicBezTo>
                <a:cubicBezTo>
                  <a:pt x="5889638" y="1493026"/>
                  <a:pt x="6009611" y="1413229"/>
                  <a:pt x="6135766" y="1422832"/>
                </a:cubicBezTo>
                <a:close/>
                <a:moveTo>
                  <a:pt x="2659921" y="1097525"/>
                </a:moveTo>
                <a:cubicBezTo>
                  <a:pt x="3590252" y="1097525"/>
                  <a:pt x="4344523" y="1851796"/>
                  <a:pt x="4344523" y="2782127"/>
                </a:cubicBezTo>
                <a:cubicBezTo>
                  <a:pt x="4344523" y="3712458"/>
                  <a:pt x="3590252" y="4466729"/>
                  <a:pt x="2659921" y="4466729"/>
                </a:cubicBezTo>
                <a:cubicBezTo>
                  <a:pt x="1729590" y="4466729"/>
                  <a:pt x="975319" y="3712458"/>
                  <a:pt x="975319" y="2782127"/>
                </a:cubicBezTo>
                <a:cubicBezTo>
                  <a:pt x="975319" y="1851796"/>
                  <a:pt x="1729590" y="1097525"/>
                  <a:pt x="2659921" y="1097525"/>
                </a:cubicBezTo>
                <a:close/>
                <a:moveTo>
                  <a:pt x="1161512" y="462316"/>
                </a:moveTo>
                <a:cubicBezTo>
                  <a:pt x="1311606" y="454082"/>
                  <a:pt x="1439534" y="569978"/>
                  <a:pt x="1447767" y="720073"/>
                </a:cubicBezTo>
                <a:cubicBezTo>
                  <a:pt x="1455367" y="870167"/>
                  <a:pt x="1340105" y="998095"/>
                  <a:pt x="1190011" y="1006329"/>
                </a:cubicBezTo>
                <a:cubicBezTo>
                  <a:pt x="1039916" y="1013928"/>
                  <a:pt x="911355" y="898666"/>
                  <a:pt x="903755" y="748571"/>
                </a:cubicBezTo>
                <a:cubicBezTo>
                  <a:pt x="896155" y="598477"/>
                  <a:pt x="1011418" y="469916"/>
                  <a:pt x="1161512" y="462316"/>
                </a:cubicBezTo>
                <a:close/>
                <a:moveTo>
                  <a:pt x="2659921" y="0"/>
                </a:moveTo>
                <a:cubicBezTo>
                  <a:pt x="2953776" y="0"/>
                  <a:pt x="3243198" y="45599"/>
                  <a:pt x="3519321" y="135528"/>
                </a:cubicBezTo>
                <a:cubicBezTo>
                  <a:pt x="3797344" y="225458"/>
                  <a:pt x="4058267" y="359086"/>
                  <a:pt x="4295125" y="531346"/>
                </a:cubicBezTo>
                <a:cubicBezTo>
                  <a:pt x="4416720" y="620010"/>
                  <a:pt x="4443953" y="790370"/>
                  <a:pt x="4355289" y="911965"/>
                </a:cubicBezTo>
                <a:cubicBezTo>
                  <a:pt x="4302091" y="984796"/>
                  <a:pt x="4219128" y="1024061"/>
                  <a:pt x="4134898" y="1023427"/>
                </a:cubicBezTo>
                <a:cubicBezTo>
                  <a:pt x="4079166" y="1023427"/>
                  <a:pt x="4022802" y="1006962"/>
                  <a:pt x="3974670" y="971496"/>
                </a:cubicBezTo>
                <a:cubicBezTo>
                  <a:pt x="3784045" y="832802"/>
                  <a:pt x="3574419" y="725772"/>
                  <a:pt x="3351494" y="653575"/>
                </a:cubicBezTo>
                <a:cubicBezTo>
                  <a:pt x="3129203" y="581378"/>
                  <a:pt x="2896145" y="544646"/>
                  <a:pt x="2659921" y="544646"/>
                </a:cubicBezTo>
                <a:cubicBezTo>
                  <a:pt x="2423697" y="544646"/>
                  <a:pt x="2190639" y="581378"/>
                  <a:pt x="1968347" y="653575"/>
                </a:cubicBezTo>
                <a:cubicBezTo>
                  <a:pt x="1825220" y="700440"/>
                  <a:pt x="1671325" y="621910"/>
                  <a:pt x="1625094" y="478782"/>
                </a:cubicBezTo>
                <a:cubicBezTo>
                  <a:pt x="1578229" y="335654"/>
                  <a:pt x="1656760" y="181760"/>
                  <a:pt x="1799888" y="135528"/>
                </a:cubicBezTo>
                <a:cubicBezTo>
                  <a:pt x="2077277" y="45599"/>
                  <a:pt x="2366065" y="0"/>
                  <a:pt x="2659921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b="1"/>
            </a:lvl1pPr>
          </a:lstStyle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2C5D59D-EC81-384A-BD76-B7D351864B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580" y="778479"/>
            <a:ext cx="1368000" cy="448468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wrap="square" lIns="144000" tIns="36000" rIns="144000" bIns="36000" anchor="ctr">
            <a:no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marL="457189" indent="0">
              <a:buNone/>
              <a:defRPr b="1">
                <a:latin typeface="+mj-lt"/>
              </a:defRPr>
            </a:lvl2pPr>
            <a:lvl3pPr marL="914377" indent="0">
              <a:buNone/>
              <a:defRPr b="1">
                <a:latin typeface="+mj-lt"/>
              </a:defRPr>
            </a:lvl3pPr>
            <a:lvl4pPr marL="1371566" indent="0">
              <a:buNone/>
              <a:defRPr b="1">
                <a:latin typeface="+mj-lt"/>
              </a:defRPr>
            </a:lvl4pPr>
            <a:lvl5pPr marL="1828754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US" dirty="0"/>
              <a:t>Categor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0509" y="2380137"/>
            <a:ext cx="3620656" cy="1458644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985795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tx2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 dirty="0"/>
              <a:t>Name and Supporting Info</a:t>
            </a:r>
          </a:p>
        </p:txBody>
      </p:sp>
    </p:spTree>
    <p:extLst>
      <p:ext uri="{BB962C8B-B14F-4D97-AF65-F5344CB8AC3E}">
        <p14:creationId xmlns:p14="http://schemas.microsoft.com/office/powerpoint/2010/main" val="4274310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aphic 26">
            <a:extLst>
              <a:ext uri="{FF2B5EF4-FFF2-40B4-BE49-F238E27FC236}">
                <a16:creationId xmlns:a16="http://schemas.microsoft.com/office/drawing/2014/main" id="{194F408F-C0E8-4DD5-AE6B-2110D73B1379}"/>
              </a:ext>
            </a:extLst>
          </p:cNvPr>
          <p:cNvGrpSpPr/>
          <p:nvPr/>
        </p:nvGrpSpPr>
        <p:grpSpPr>
          <a:xfrm>
            <a:off x="-362752" y="-3026588"/>
            <a:ext cx="12914710" cy="12914078"/>
            <a:chOff x="-362752" y="-3026588"/>
            <a:chExt cx="12914710" cy="12914078"/>
          </a:xfrm>
        </p:grpSpPr>
        <p:sp>
          <p:nvSpPr>
            <p:cNvPr id="31" name="Graphic 26">
              <a:extLst>
                <a:ext uri="{FF2B5EF4-FFF2-40B4-BE49-F238E27FC236}">
                  <a16:creationId xmlns:a16="http://schemas.microsoft.com/office/drawing/2014/main" id="{C7392C0A-E67E-437F-8935-CDB7758B0170}"/>
                </a:ext>
              </a:extLst>
            </p:cNvPr>
            <p:cNvSpPr/>
            <p:nvPr/>
          </p:nvSpPr>
          <p:spPr>
            <a:xfrm>
              <a:off x="3371348" y="6019516"/>
              <a:ext cx="5020687" cy="1481312"/>
            </a:xfrm>
            <a:custGeom>
              <a:avLst/>
              <a:gdLst>
                <a:gd name="connsiteX0" fmla="*/ 3707560 w 5020687"/>
                <a:gd name="connsiteY0" fmla="*/ 1359467 h 1481312"/>
                <a:gd name="connsiteX1" fmla="*/ 2439210 w 5020687"/>
                <a:gd name="connsiteY1" fmla="*/ 1471493 h 1481312"/>
                <a:gd name="connsiteX2" fmla="*/ 1198076 w 5020687"/>
                <a:gd name="connsiteY2" fmla="*/ 1184152 h 1481312"/>
                <a:gd name="connsiteX3" fmla="*/ 106941 w 5020687"/>
                <a:gd name="connsiteY3" fmla="*/ 528459 h 1481312"/>
                <a:gd name="connsiteX4" fmla="*/ 69599 w 5020687"/>
                <a:gd name="connsiteY4" fmla="*/ 106941 h 1481312"/>
                <a:gd name="connsiteX5" fmla="*/ 491116 w 5020687"/>
                <a:gd name="connsiteY5" fmla="*/ 69600 h 1481312"/>
                <a:gd name="connsiteX6" fmla="*/ 1422758 w 5020687"/>
                <a:gd name="connsiteY6" fmla="*/ 629090 h 1481312"/>
                <a:gd name="connsiteX7" fmla="*/ 2480982 w 5020687"/>
                <a:gd name="connsiteY7" fmla="*/ 874027 h 1481312"/>
                <a:gd name="connsiteX8" fmla="*/ 3563256 w 5020687"/>
                <a:gd name="connsiteY8" fmla="*/ 778458 h 1481312"/>
                <a:gd name="connsiteX9" fmla="*/ 4563252 w 5020687"/>
                <a:gd name="connsiteY9" fmla="*/ 355041 h 1481312"/>
                <a:gd name="connsiteX10" fmla="*/ 4975276 w 5020687"/>
                <a:gd name="connsiteY10" fmla="*/ 449978 h 1481312"/>
                <a:gd name="connsiteX11" fmla="*/ 4880339 w 5020687"/>
                <a:gd name="connsiteY11" fmla="*/ 862001 h 1481312"/>
                <a:gd name="connsiteX12" fmla="*/ 3707560 w 5020687"/>
                <a:gd name="connsiteY12" fmla="*/ 1359467 h 1481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0687" h="1481312">
                  <a:moveTo>
                    <a:pt x="3707560" y="1359467"/>
                  </a:moveTo>
                  <a:cubicBezTo>
                    <a:pt x="3290472" y="1463265"/>
                    <a:pt x="2863892" y="1501239"/>
                    <a:pt x="2439210" y="1471493"/>
                  </a:cubicBezTo>
                  <a:cubicBezTo>
                    <a:pt x="2013262" y="1441746"/>
                    <a:pt x="1595542" y="1344911"/>
                    <a:pt x="1198076" y="1184152"/>
                  </a:cubicBezTo>
                  <a:cubicBezTo>
                    <a:pt x="801875" y="1023393"/>
                    <a:pt x="434788" y="803140"/>
                    <a:pt x="106941" y="528459"/>
                  </a:cubicBezTo>
                  <a:cubicBezTo>
                    <a:pt x="-19641" y="422129"/>
                    <a:pt x="-36097" y="233522"/>
                    <a:pt x="69599" y="106941"/>
                  </a:cubicBezTo>
                  <a:cubicBezTo>
                    <a:pt x="175928" y="-19641"/>
                    <a:pt x="364534" y="-36097"/>
                    <a:pt x="491116" y="69600"/>
                  </a:cubicBezTo>
                  <a:cubicBezTo>
                    <a:pt x="770862" y="303776"/>
                    <a:pt x="1084152" y="492382"/>
                    <a:pt x="1422758" y="629090"/>
                  </a:cubicBezTo>
                  <a:cubicBezTo>
                    <a:pt x="1761364" y="766432"/>
                    <a:pt x="2117692" y="848710"/>
                    <a:pt x="2480982" y="874027"/>
                  </a:cubicBezTo>
                  <a:cubicBezTo>
                    <a:pt x="2843005" y="899343"/>
                    <a:pt x="3206928" y="867065"/>
                    <a:pt x="3563256" y="778458"/>
                  </a:cubicBezTo>
                  <a:cubicBezTo>
                    <a:pt x="3918951" y="689850"/>
                    <a:pt x="4255659" y="547446"/>
                    <a:pt x="4563252" y="355041"/>
                  </a:cubicBezTo>
                  <a:cubicBezTo>
                    <a:pt x="4703125" y="267700"/>
                    <a:pt x="4887935" y="310105"/>
                    <a:pt x="4975276" y="449978"/>
                  </a:cubicBezTo>
                  <a:cubicBezTo>
                    <a:pt x="5062617" y="589850"/>
                    <a:pt x="5020212" y="774659"/>
                    <a:pt x="4880339" y="862001"/>
                  </a:cubicBezTo>
                  <a:cubicBezTo>
                    <a:pt x="4518949" y="1088583"/>
                    <a:pt x="4124013" y="1255670"/>
                    <a:pt x="3707560" y="1359467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26">
              <a:extLst>
                <a:ext uri="{FF2B5EF4-FFF2-40B4-BE49-F238E27FC236}">
                  <a16:creationId xmlns:a16="http://schemas.microsoft.com/office/drawing/2014/main" id="{4A9F640C-7021-44B7-9793-0316137488CC}"/>
                </a:ext>
              </a:extLst>
            </p:cNvPr>
            <p:cNvSpPr/>
            <p:nvPr/>
          </p:nvSpPr>
          <p:spPr>
            <a:xfrm>
              <a:off x="2906793" y="-640297"/>
              <a:ext cx="4899739" cy="1945900"/>
            </a:xfrm>
            <a:custGeom>
              <a:avLst/>
              <a:gdLst>
                <a:gd name="connsiteX0" fmla="*/ 371497 w 4899739"/>
                <a:gd name="connsiteY0" fmla="*/ 1937027 h 1945900"/>
                <a:gd name="connsiteX1" fmla="*/ 106941 w 4899739"/>
                <a:gd name="connsiteY1" fmla="*/ 1876268 h 1945900"/>
                <a:gd name="connsiteX2" fmla="*/ 69599 w 4899739"/>
                <a:gd name="connsiteY2" fmla="*/ 1454751 h 1945900"/>
                <a:gd name="connsiteX3" fmla="*/ 1030355 w 4899739"/>
                <a:gd name="connsiteY3" fmla="*/ 618678 h 1945900"/>
                <a:gd name="connsiteX4" fmla="*/ 2203135 w 4899739"/>
                <a:gd name="connsiteY4" fmla="*/ 121845 h 1945900"/>
                <a:gd name="connsiteX5" fmla="*/ 3471484 w 4899739"/>
                <a:gd name="connsiteY5" fmla="*/ 9820 h 1945900"/>
                <a:gd name="connsiteX6" fmla="*/ 4712618 w 4899739"/>
                <a:gd name="connsiteY6" fmla="*/ 297161 h 1945900"/>
                <a:gd name="connsiteX7" fmla="*/ 4877808 w 4899739"/>
                <a:gd name="connsiteY7" fmla="*/ 686400 h 1945900"/>
                <a:gd name="connsiteX8" fmla="*/ 4488569 w 4899739"/>
                <a:gd name="connsiteY8" fmla="*/ 851589 h 1945900"/>
                <a:gd name="connsiteX9" fmla="*/ 3430345 w 4899739"/>
                <a:gd name="connsiteY9" fmla="*/ 606653 h 1945900"/>
                <a:gd name="connsiteX10" fmla="*/ 2348071 w 4899739"/>
                <a:gd name="connsiteY10" fmla="*/ 702222 h 1945900"/>
                <a:gd name="connsiteX11" fmla="*/ 1347442 w 4899739"/>
                <a:gd name="connsiteY11" fmla="*/ 1125639 h 1945900"/>
                <a:gd name="connsiteX12" fmla="*/ 528458 w 4899739"/>
                <a:gd name="connsiteY12" fmla="*/ 1838927 h 1945900"/>
                <a:gd name="connsiteX13" fmla="*/ 371497 w 4899739"/>
                <a:gd name="connsiteY13" fmla="*/ 1937027 h 194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99739" h="1945900">
                  <a:moveTo>
                    <a:pt x="371497" y="1937027"/>
                  </a:moveTo>
                  <a:cubicBezTo>
                    <a:pt x="281623" y="1959179"/>
                    <a:pt x="182890" y="1940192"/>
                    <a:pt x="106941" y="1876268"/>
                  </a:cubicBezTo>
                  <a:cubicBezTo>
                    <a:pt x="-19641" y="1769940"/>
                    <a:pt x="-36097" y="1581333"/>
                    <a:pt x="69599" y="1454751"/>
                  </a:cubicBezTo>
                  <a:cubicBezTo>
                    <a:pt x="344914" y="1126271"/>
                    <a:pt x="668331" y="844627"/>
                    <a:pt x="1030355" y="618678"/>
                  </a:cubicBezTo>
                  <a:cubicBezTo>
                    <a:pt x="1391746" y="393363"/>
                    <a:pt x="1786048" y="226275"/>
                    <a:pt x="2203135" y="121845"/>
                  </a:cubicBezTo>
                  <a:cubicBezTo>
                    <a:pt x="2620222" y="18048"/>
                    <a:pt x="3046803" y="-19927"/>
                    <a:pt x="3471484" y="9820"/>
                  </a:cubicBezTo>
                  <a:cubicBezTo>
                    <a:pt x="3897432" y="39567"/>
                    <a:pt x="4315152" y="136402"/>
                    <a:pt x="4712618" y="297161"/>
                  </a:cubicBezTo>
                  <a:cubicBezTo>
                    <a:pt x="4865783" y="359186"/>
                    <a:pt x="4939833" y="533869"/>
                    <a:pt x="4877808" y="686400"/>
                  </a:cubicBezTo>
                  <a:cubicBezTo>
                    <a:pt x="4815783" y="839564"/>
                    <a:pt x="4641100" y="913614"/>
                    <a:pt x="4488569" y="851589"/>
                  </a:cubicBezTo>
                  <a:cubicBezTo>
                    <a:pt x="4149963" y="714248"/>
                    <a:pt x="3793635" y="631969"/>
                    <a:pt x="3430345" y="606653"/>
                  </a:cubicBezTo>
                  <a:cubicBezTo>
                    <a:pt x="3068322" y="581337"/>
                    <a:pt x="2704399" y="613615"/>
                    <a:pt x="2348071" y="702222"/>
                  </a:cubicBezTo>
                  <a:cubicBezTo>
                    <a:pt x="1992376" y="790830"/>
                    <a:pt x="1655669" y="933234"/>
                    <a:pt x="1347442" y="1125639"/>
                  </a:cubicBezTo>
                  <a:cubicBezTo>
                    <a:pt x="1038583" y="1318676"/>
                    <a:pt x="763267" y="1558548"/>
                    <a:pt x="528458" y="1838927"/>
                  </a:cubicBezTo>
                  <a:cubicBezTo>
                    <a:pt x="486053" y="1889559"/>
                    <a:pt x="430990" y="1922471"/>
                    <a:pt x="371497" y="1937027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Graphic 26">
              <a:extLst>
                <a:ext uri="{FF2B5EF4-FFF2-40B4-BE49-F238E27FC236}">
                  <a16:creationId xmlns:a16="http://schemas.microsoft.com/office/drawing/2014/main" id="{EC7F8BFD-33E8-43B4-9226-7F56986BA662}"/>
                </a:ext>
              </a:extLst>
            </p:cNvPr>
            <p:cNvSpPr/>
            <p:nvPr/>
          </p:nvSpPr>
          <p:spPr>
            <a:xfrm>
              <a:off x="3935469" y="4990606"/>
              <a:ext cx="7059658" cy="3703391"/>
            </a:xfrm>
            <a:custGeom>
              <a:avLst/>
              <a:gdLst>
                <a:gd name="connsiteX0" fmla="*/ 3432045 w 7059658"/>
                <a:gd name="connsiteY0" fmla="*/ 3545969 h 3703391"/>
                <a:gd name="connsiteX1" fmla="*/ 1791545 w 7059658"/>
                <a:gd name="connsiteY1" fmla="*/ 3690905 h 3703391"/>
                <a:gd name="connsiteX2" fmla="*/ 187121 w 7059658"/>
                <a:gd name="connsiteY2" fmla="*/ 3319387 h 3703391"/>
                <a:gd name="connsiteX3" fmla="*/ 21932 w 7059658"/>
                <a:gd name="connsiteY3" fmla="*/ 2930148 h 3703391"/>
                <a:gd name="connsiteX4" fmla="*/ 411171 w 7059658"/>
                <a:gd name="connsiteY4" fmla="*/ 2764959 h 3703391"/>
                <a:gd name="connsiteX5" fmla="*/ 1832684 w 7059658"/>
                <a:gd name="connsiteY5" fmla="*/ 3094072 h 3703391"/>
                <a:gd name="connsiteX6" fmla="*/ 3286476 w 7059658"/>
                <a:gd name="connsiteY6" fmla="*/ 2965592 h 3703391"/>
                <a:gd name="connsiteX7" fmla="*/ 4630775 w 7059658"/>
                <a:gd name="connsiteY7" fmla="*/ 2396606 h 3703391"/>
                <a:gd name="connsiteX8" fmla="*/ 5731403 w 7059658"/>
                <a:gd name="connsiteY8" fmla="*/ 1438382 h 3703391"/>
                <a:gd name="connsiteX9" fmla="*/ 6483299 w 7059658"/>
                <a:gd name="connsiteY9" fmla="*/ 187121 h 3703391"/>
                <a:gd name="connsiteX10" fmla="*/ 6872538 w 7059658"/>
                <a:gd name="connsiteY10" fmla="*/ 21931 h 3703391"/>
                <a:gd name="connsiteX11" fmla="*/ 7037727 w 7059658"/>
                <a:gd name="connsiteY11" fmla="*/ 411170 h 3703391"/>
                <a:gd name="connsiteX12" fmla="*/ 6189629 w 7059658"/>
                <a:gd name="connsiteY12" fmla="*/ 1821925 h 3703391"/>
                <a:gd name="connsiteX13" fmla="*/ 4947229 w 7059658"/>
                <a:gd name="connsiteY13" fmla="*/ 2903566 h 3703391"/>
                <a:gd name="connsiteX14" fmla="*/ 3432045 w 7059658"/>
                <a:gd name="connsiteY14" fmla="*/ 3545969 h 370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59658" h="3703391">
                  <a:moveTo>
                    <a:pt x="3432045" y="3545969"/>
                  </a:moveTo>
                  <a:cubicBezTo>
                    <a:pt x="2892806" y="3680145"/>
                    <a:pt x="2340910" y="3728880"/>
                    <a:pt x="1791545" y="3690905"/>
                  </a:cubicBezTo>
                  <a:cubicBezTo>
                    <a:pt x="1240914" y="3652298"/>
                    <a:pt x="701043" y="3527614"/>
                    <a:pt x="187121" y="3319387"/>
                  </a:cubicBezTo>
                  <a:cubicBezTo>
                    <a:pt x="33957" y="3257362"/>
                    <a:pt x="-40093" y="3082680"/>
                    <a:pt x="21932" y="2930148"/>
                  </a:cubicBezTo>
                  <a:cubicBezTo>
                    <a:pt x="83957" y="2776984"/>
                    <a:pt x="258640" y="2702934"/>
                    <a:pt x="411171" y="2764959"/>
                  </a:cubicBezTo>
                  <a:cubicBezTo>
                    <a:pt x="866232" y="2949135"/>
                    <a:pt x="1344711" y="3059894"/>
                    <a:pt x="1832684" y="3094072"/>
                  </a:cubicBezTo>
                  <a:cubicBezTo>
                    <a:pt x="2319391" y="3128249"/>
                    <a:pt x="2808630" y="3084578"/>
                    <a:pt x="3286476" y="2965592"/>
                  </a:cubicBezTo>
                  <a:cubicBezTo>
                    <a:pt x="3764322" y="2846604"/>
                    <a:pt x="4216852" y="2654833"/>
                    <a:pt x="4630775" y="2396606"/>
                  </a:cubicBezTo>
                  <a:cubicBezTo>
                    <a:pt x="5045963" y="2137746"/>
                    <a:pt x="5416214" y="1814963"/>
                    <a:pt x="5731403" y="1438382"/>
                  </a:cubicBezTo>
                  <a:cubicBezTo>
                    <a:pt x="6046591" y="1062434"/>
                    <a:pt x="6299122" y="641549"/>
                    <a:pt x="6483299" y="187121"/>
                  </a:cubicBezTo>
                  <a:cubicBezTo>
                    <a:pt x="6545324" y="33957"/>
                    <a:pt x="6720007" y="-40093"/>
                    <a:pt x="6872538" y="21931"/>
                  </a:cubicBezTo>
                  <a:cubicBezTo>
                    <a:pt x="7025701" y="83957"/>
                    <a:pt x="7099752" y="258640"/>
                    <a:pt x="7037727" y="411170"/>
                  </a:cubicBezTo>
                  <a:cubicBezTo>
                    <a:pt x="6830133" y="923827"/>
                    <a:pt x="6544690" y="1398508"/>
                    <a:pt x="6189629" y="1821925"/>
                  </a:cubicBezTo>
                  <a:cubicBezTo>
                    <a:pt x="5833934" y="2246606"/>
                    <a:pt x="5415582" y="2610529"/>
                    <a:pt x="4947229" y="2903566"/>
                  </a:cubicBezTo>
                  <a:cubicBezTo>
                    <a:pt x="4481408" y="3195970"/>
                    <a:pt x="3971283" y="3411792"/>
                    <a:pt x="3432045" y="3545969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Graphic 26">
              <a:extLst>
                <a:ext uri="{FF2B5EF4-FFF2-40B4-BE49-F238E27FC236}">
                  <a16:creationId xmlns:a16="http://schemas.microsoft.com/office/drawing/2014/main" id="{E15AE27A-013C-4EDE-92AB-AD3781384681}"/>
                </a:ext>
              </a:extLst>
            </p:cNvPr>
            <p:cNvSpPr/>
            <p:nvPr/>
          </p:nvSpPr>
          <p:spPr>
            <a:xfrm>
              <a:off x="842133" y="1272266"/>
              <a:ext cx="948599" cy="2111135"/>
            </a:xfrm>
            <a:custGeom>
              <a:avLst/>
              <a:gdLst>
                <a:gd name="connsiteX0" fmla="*/ 371607 w 948599"/>
                <a:gd name="connsiteY0" fmla="*/ 2102303 h 2111135"/>
                <a:gd name="connsiteX1" fmla="*/ 278570 w 948599"/>
                <a:gd name="connsiteY1" fmla="*/ 2110531 h 2111135"/>
                <a:gd name="connsiteX2" fmla="*/ 723 w 948599"/>
                <a:gd name="connsiteY2" fmla="*/ 1791545 h 2111135"/>
                <a:gd name="connsiteX3" fmla="*/ 372240 w 948599"/>
                <a:gd name="connsiteY3" fmla="*/ 187121 h 2111135"/>
                <a:gd name="connsiteX4" fmla="*/ 761479 w 948599"/>
                <a:gd name="connsiteY4" fmla="*/ 21932 h 2111135"/>
                <a:gd name="connsiteX5" fmla="*/ 926668 w 948599"/>
                <a:gd name="connsiteY5" fmla="*/ 411171 h 2111135"/>
                <a:gd name="connsiteX6" fmla="*/ 597556 w 948599"/>
                <a:gd name="connsiteY6" fmla="*/ 1832684 h 2111135"/>
                <a:gd name="connsiteX7" fmla="*/ 371607 w 948599"/>
                <a:gd name="connsiteY7" fmla="*/ 2102303 h 211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8599" h="2111135">
                  <a:moveTo>
                    <a:pt x="371607" y="2102303"/>
                  </a:moveTo>
                  <a:cubicBezTo>
                    <a:pt x="341860" y="2109898"/>
                    <a:pt x="310848" y="2112430"/>
                    <a:pt x="278570" y="2110531"/>
                  </a:cubicBezTo>
                  <a:cubicBezTo>
                    <a:pt x="114013" y="2099139"/>
                    <a:pt x="-10670" y="1956101"/>
                    <a:pt x="723" y="1791545"/>
                  </a:cubicBezTo>
                  <a:cubicBezTo>
                    <a:pt x="39330" y="1240914"/>
                    <a:pt x="164013" y="701043"/>
                    <a:pt x="372240" y="187121"/>
                  </a:cubicBezTo>
                  <a:cubicBezTo>
                    <a:pt x="434265" y="33957"/>
                    <a:pt x="608948" y="-40093"/>
                    <a:pt x="761479" y="21932"/>
                  </a:cubicBezTo>
                  <a:cubicBezTo>
                    <a:pt x="914643" y="83957"/>
                    <a:pt x="988693" y="258639"/>
                    <a:pt x="926668" y="411171"/>
                  </a:cubicBezTo>
                  <a:cubicBezTo>
                    <a:pt x="742492" y="866232"/>
                    <a:pt x="631733" y="1344711"/>
                    <a:pt x="597556" y="1832684"/>
                  </a:cubicBezTo>
                  <a:cubicBezTo>
                    <a:pt x="588695" y="1964962"/>
                    <a:pt x="494391" y="2071923"/>
                    <a:pt x="371607" y="2102303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Graphic 26">
              <a:extLst>
                <a:ext uri="{FF2B5EF4-FFF2-40B4-BE49-F238E27FC236}">
                  <a16:creationId xmlns:a16="http://schemas.microsoft.com/office/drawing/2014/main" id="{EACC5525-C551-4A7E-9CFC-F652E97494D0}"/>
                </a:ext>
              </a:extLst>
            </p:cNvPr>
            <p:cNvSpPr/>
            <p:nvPr/>
          </p:nvSpPr>
          <p:spPr>
            <a:xfrm>
              <a:off x="86117" y="-3026588"/>
              <a:ext cx="12465841" cy="7185936"/>
            </a:xfrm>
            <a:custGeom>
              <a:avLst/>
              <a:gdLst>
                <a:gd name="connsiteX0" fmla="*/ 12223782 w 12465841"/>
                <a:gd name="connsiteY0" fmla="*/ 7177105 h 7185936"/>
                <a:gd name="connsiteX1" fmla="*/ 12130744 w 12465841"/>
                <a:gd name="connsiteY1" fmla="*/ 7185333 h 7185936"/>
                <a:gd name="connsiteX2" fmla="*/ 11852897 w 12465841"/>
                <a:gd name="connsiteY2" fmla="*/ 6866347 h 7185936"/>
                <a:gd name="connsiteX3" fmla="*/ 11691505 w 12465841"/>
                <a:gd name="connsiteY3" fmla="*/ 5040405 h 7185936"/>
                <a:gd name="connsiteX4" fmla="*/ 10976951 w 12465841"/>
                <a:gd name="connsiteY4" fmla="*/ 3352437 h 7185936"/>
                <a:gd name="connsiteX5" fmla="*/ 9773791 w 12465841"/>
                <a:gd name="connsiteY5" fmla="*/ 1970163 h 7185936"/>
                <a:gd name="connsiteX6" fmla="*/ 8202279 w 12465841"/>
                <a:gd name="connsiteY6" fmla="*/ 1025863 h 7185936"/>
                <a:gd name="connsiteX7" fmla="*/ 6416843 w 12465841"/>
                <a:gd name="connsiteY7" fmla="*/ 612574 h 7185936"/>
                <a:gd name="connsiteX8" fmla="*/ 4590901 w 12465841"/>
                <a:gd name="connsiteY8" fmla="*/ 773965 h 7185936"/>
                <a:gd name="connsiteX9" fmla="*/ 2902933 w 12465841"/>
                <a:gd name="connsiteY9" fmla="*/ 1488520 h 7185936"/>
                <a:gd name="connsiteX10" fmla="*/ 1520660 w 12465841"/>
                <a:gd name="connsiteY10" fmla="*/ 2691679 h 7185936"/>
                <a:gd name="connsiteX11" fmla="*/ 576360 w 12465841"/>
                <a:gd name="connsiteY11" fmla="*/ 4263192 h 7185936"/>
                <a:gd name="connsiteX12" fmla="*/ 187121 w 12465841"/>
                <a:gd name="connsiteY12" fmla="*/ 4428382 h 7185936"/>
                <a:gd name="connsiteX13" fmla="*/ 21932 w 12465841"/>
                <a:gd name="connsiteY13" fmla="*/ 4039143 h 7185936"/>
                <a:gd name="connsiteX14" fmla="*/ 1061801 w 12465841"/>
                <a:gd name="connsiteY14" fmla="*/ 2308137 h 7185936"/>
                <a:gd name="connsiteX15" fmla="*/ 2585846 w 12465841"/>
                <a:gd name="connsiteY15" fmla="*/ 981560 h 7185936"/>
                <a:gd name="connsiteX16" fmla="*/ 4446598 w 12465841"/>
                <a:gd name="connsiteY16" fmla="*/ 192955 h 7185936"/>
                <a:gd name="connsiteX17" fmla="*/ 4446598 w 12465841"/>
                <a:gd name="connsiteY17" fmla="*/ 192955 h 7185936"/>
                <a:gd name="connsiteX18" fmla="*/ 6458615 w 12465841"/>
                <a:gd name="connsiteY18" fmla="*/ 15741 h 7185936"/>
                <a:gd name="connsiteX19" fmla="*/ 8426961 w 12465841"/>
                <a:gd name="connsiteY19" fmla="*/ 471435 h 7185936"/>
                <a:gd name="connsiteX20" fmla="*/ 10157967 w 12465841"/>
                <a:gd name="connsiteY20" fmla="*/ 1511304 h 7185936"/>
                <a:gd name="connsiteX21" fmla="*/ 11484544 w 12465841"/>
                <a:gd name="connsiteY21" fmla="*/ 3035349 h 7185936"/>
                <a:gd name="connsiteX22" fmla="*/ 12272516 w 12465841"/>
                <a:gd name="connsiteY22" fmla="*/ 4895468 h 7185936"/>
                <a:gd name="connsiteX23" fmla="*/ 12450363 w 12465841"/>
                <a:gd name="connsiteY23" fmla="*/ 6907486 h 7185936"/>
                <a:gd name="connsiteX24" fmla="*/ 12223782 w 12465841"/>
                <a:gd name="connsiteY24" fmla="*/ 7177105 h 718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465841" h="7185936">
                  <a:moveTo>
                    <a:pt x="12223782" y="7177105"/>
                  </a:moveTo>
                  <a:cubicBezTo>
                    <a:pt x="12194035" y="7184700"/>
                    <a:pt x="12163022" y="7187231"/>
                    <a:pt x="12130744" y="7185333"/>
                  </a:cubicBezTo>
                  <a:cubicBezTo>
                    <a:pt x="11966187" y="7173941"/>
                    <a:pt x="11841505" y="7030903"/>
                    <a:pt x="11852897" y="6866347"/>
                  </a:cubicBezTo>
                  <a:cubicBezTo>
                    <a:pt x="11895302" y="6254957"/>
                    <a:pt x="11841505" y="5641035"/>
                    <a:pt x="11691505" y="5040405"/>
                  </a:cubicBezTo>
                  <a:cubicBezTo>
                    <a:pt x="11541506" y="4439774"/>
                    <a:pt x="11301633" y="3872055"/>
                    <a:pt x="10976951" y="3352437"/>
                  </a:cubicBezTo>
                  <a:cubicBezTo>
                    <a:pt x="10651636" y="2831552"/>
                    <a:pt x="10246574" y="2366364"/>
                    <a:pt x="9773791" y="1970163"/>
                  </a:cubicBezTo>
                  <a:cubicBezTo>
                    <a:pt x="9301641" y="1574595"/>
                    <a:pt x="8773162" y="1256875"/>
                    <a:pt x="8202279" y="1025863"/>
                  </a:cubicBezTo>
                  <a:cubicBezTo>
                    <a:pt x="7630129" y="794219"/>
                    <a:pt x="7029499" y="654979"/>
                    <a:pt x="6416843" y="612574"/>
                  </a:cubicBezTo>
                  <a:cubicBezTo>
                    <a:pt x="5805453" y="570169"/>
                    <a:pt x="5191532" y="623966"/>
                    <a:pt x="4590901" y="773965"/>
                  </a:cubicBezTo>
                  <a:cubicBezTo>
                    <a:pt x="3990270" y="923965"/>
                    <a:pt x="3422551" y="1163837"/>
                    <a:pt x="2902933" y="1488520"/>
                  </a:cubicBezTo>
                  <a:cubicBezTo>
                    <a:pt x="2382049" y="1813835"/>
                    <a:pt x="1916861" y="2218897"/>
                    <a:pt x="1520660" y="2691679"/>
                  </a:cubicBezTo>
                  <a:cubicBezTo>
                    <a:pt x="1125092" y="3163830"/>
                    <a:pt x="807372" y="3692309"/>
                    <a:pt x="576360" y="4263192"/>
                  </a:cubicBezTo>
                  <a:cubicBezTo>
                    <a:pt x="514335" y="4416356"/>
                    <a:pt x="339652" y="4490407"/>
                    <a:pt x="187121" y="4428382"/>
                  </a:cubicBezTo>
                  <a:cubicBezTo>
                    <a:pt x="33957" y="4366357"/>
                    <a:pt x="-40093" y="4191674"/>
                    <a:pt x="21932" y="4039143"/>
                  </a:cubicBezTo>
                  <a:cubicBezTo>
                    <a:pt x="276361" y="3410664"/>
                    <a:pt x="626360" y="2828388"/>
                    <a:pt x="1061801" y="2308137"/>
                  </a:cubicBezTo>
                  <a:cubicBezTo>
                    <a:pt x="1498508" y="1786620"/>
                    <a:pt x="2011164" y="1340419"/>
                    <a:pt x="2585846" y="981560"/>
                  </a:cubicBezTo>
                  <a:cubicBezTo>
                    <a:pt x="3159261" y="623333"/>
                    <a:pt x="3785208" y="358144"/>
                    <a:pt x="4446598" y="192955"/>
                  </a:cubicBezTo>
                  <a:cubicBezTo>
                    <a:pt x="4446598" y="192955"/>
                    <a:pt x="4446598" y="192955"/>
                    <a:pt x="4446598" y="192955"/>
                  </a:cubicBezTo>
                  <a:cubicBezTo>
                    <a:pt x="5107988" y="28399"/>
                    <a:pt x="5784567" y="-31728"/>
                    <a:pt x="6458615" y="15741"/>
                  </a:cubicBezTo>
                  <a:cubicBezTo>
                    <a:pt x="7134561" y="62576"/>
                    <a:pt x="7796585" y="216373"/>
                    <a:pt x="8426961" y="471435"/>
                  </a:cubicBezTo>
                  <a:cubicBezTo>
                    <a:pt x="9055439" y="725864"/>
                    <a:pt x="9637716" y="1075863"/>
                    <a:pt x="10157967" y="1511304"/>
                  </a:cubicBezTo>
                  <a:cubicBezTo>
                    <a:pt x="10679484" y="1948011"/>
                    <a:pt x="11125685" y="2460668"/>
                    <a:pt x="11484544" y="3035349"/>
                  </a:cubicBezTo>
                  <a:cubicBezTo>
                    <a:pt x="11842138" y="3608131"/>
                    <a:pt x="12107326" y="4234079"/>
                    <a:pt x="12272516" y="4895468"/>
                  </a:cubicBezTo>
                  <a:cubicBezTo>
                    <a:pt x="12437705" y="5556858"/>
                    <a:pt x="12497198" y="6234071"/>
                    <a:pt x="12450363" y="6907486"/>
                  </a:cubicBezTo>
                  <a:cubicBezTo>
                    <a:pt x="12440236" y="7039764"/>
                    <a:pt x="12345933" y="7146725"/>
                    <a:pt x="12223782" y="7177105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Graphic 26">
              <a:extLst>
                <a:ext uri="{FF2B5EF4-FFF2-40B4-BE49-F238E27FC236}">
                  <a16:creationId xmlns:a16="http://schemas.microsoft.com/office/drawing/2014/main" id="{B3DA75DD-0744-4317-97CE-196031F34F9C}"/>
                </a:ext>
              </a:extLst>
            </p:cNvPr>
            <p:cNvSpPr/>
            <p:nvPr/>
          </p:nvSpPr>
          <p:spPr>
            <a:xfrm>
              <a:off x="-362752" y="2701698"/>
              <a:ext cx="782851" cy="2517232"/>
            </a:xfrm>
            <a:custGeom>
              <a:avLst/>
              <a:gdLst>
                <a:gd name="connsiteX0" fmla="*/ 555612 w 782851"/>
                <a:gd name="connsiteY0" fmla="*/ 2508308 h 2517232"/>
                <a:gd name="connsiteX1" fmla="*/ 192955 w 782851"/>
                <a:gd name="connsiteY1" fmla="*/ 2290587 h 2517232"/>
                <a:gd name="connsiteX2" fmla="*/ 15741 w 782851"/>
                <a:gd name="connsiteY2" fmla="*/ 278569 h 2517232"/>
                <a:gd name="connsiteX3" fmla="*/ 334727 w 782851"/>
                <a:gd name="connsiteY3" fmla="*/ 723 h 2517232"/>
                <a:gd name="connsiteX4" fmla="*/ 612574 w 782851"/>
                <a:gd name="connsiteY4" fmla="*/ 319708 h 2517232"/>
                <a:gd name="connsiteX5" fmla="*/ 773965 w 782851"/>
                <a:gd name="connsiteY5" fmla="*/ 2145651 h 2517232"/>
                <a:gd name="connsiteX6" fmla="*/ 555612 w 782851"/>
                <a:gd name="connsiteY6" fmla="*/ 2508308 h 2517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851" h="2517232">
                  <a:moveTo>
                    <a:pt x="555612" y="2508308"/>
                  </a:moveTo>
                  <a:cubicBezTo>
                    <a:pt x="395486" y="2548181"/>
                    <a:pt x="232828" y="2450713"/>
                    <a:pt x="192955" y="2290587"/>
                  </a:cubicBezTo>
                  <a:cubicBezTo>
                    <a:pt x="28399" y="1629197"/>
                    <a:pt x="-31728" y="951985"/>
                    <a:pt x="15741" y="278569"/>
                  </a:cubicBezTo>
                  <a:cubicBezTo>
                    <a:pt x="27133" y="114013"/>
                    <a:pt x="170170" y="-10670"/>
                    <a:pt x="334727" y="723"/>
                  </a:cubicBezTo>
                  <a:cubicBezTo>
                    <a:pt x="499283" y="12115"/>
                    <a:pt x="623966" y="155152"/>
                    <a:pt x="612574" y="319708"/>
                  </a:cubicBezTo>
                  <a:cubicBezTo>
                    <a:pt x="570169" y="931098"/>
                    <a:pt x="623966" y="1545020"/>
                    <a:pt x="773965" y="2145651"/>
                  </a:cubicBezTo>
                  <a:cubicBezTo>
                    <a:pt x="813839" y="2305777"/>
                    <a:pt x="715738" y="2468434"/>
                    <a:pt x="555612" y="2508308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Graphic 26">
              <a:extLst>
                <a:ext uri="{FF2B5EF4-FFF2-40B4-BE49-F238E27FC236}">
                  <a16:creationId xmlns:a16="http://schemas.microsoft.com/office/drawing/2014/main" id="{96461F51-2246-4AF3-B1F0-3090C88C608E}"/>
                </a:ext>
              </a:extLst>
            </p:cNvPr>
            <p:cNvSpPr/>
            <p:nvPr/>
          </p:nvSpPr>
          <p:spPr>
            <a:xfrm>
              <a:off x="127669" y="5534687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Graphic 26">
              <a:extLst>
                <a:ext uri="{FF2B5EF4-FFF2-40B4-BE49-F238E27FC236}">
                  <a16:creationId xmlns:a16="http://schemas.microsoft.com/office/drawing/2014/main" id="{1B5E281B-ADE0-42F8-8EDE-91532054FC3E}"/>
                </a:ext>
              </a:extLst>
            </p:cNvPr>
            <p:cNvSpPr/>
            <p:nvPr/>
          </p:nvSpPr>
          <p:spPr>
            <a:xfrm>
              <a:off x="10626361" y="4245452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2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0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Graphic 26">
              <a:extLst>
                <a:ext uri="{FF2B5EF4-FFF2-40B4-BE49-F238E27FC236}">
                  <a16:creationId xmlns:a16="http://schemas.microsoft.com/office/drawing/2014/main" id="{22D4F78C-21C9-4513-B187-8A309B3057DA}"/>
                </a:ext>
              </a:extLst>
            </p:cNvPr>
            <p:cNvSpPr/>
            <p:nvPr/>
          </p:nvSpPr>
          <p:spPr>
            <a:xfrm>
              <a:off x="8993333" y="1132683"/>
              <a:ext cx="1171331" cy="4010094"/>
            </a:xfrm>
            <a:custGeom>
              <a:avLst/>
              <a:gdLst>
                <a:gd name="connsiteX0" fmla="*/ 874171 w 1171331"/>
                <a:gd name="connsiteY0" fmla="*/ 3822893 h 4010094"/>
                <a:gd name="connsiteX1" fmla="*/ 1161511 w 1171331"/>
                <a:gd name="connsiteY1" fmla="*/ 2581759 h 4010094"/>
                <a:gd name="connsiteX2" fmla="*/ 1049486 w 1171331"/>
                <a:gd name="connsiteY2" fmla="*/ 1313409 h 4010094"/>
                <a:gd name="connsiteX3" fmla="*/ 552653 w 1171331"/>
                <a:gd name="connsiteY3" fmla="*/ 140629 h 4010094"/>
                <a:gd name="connsiteX4" fmla="*/ 140629 w 1171331"/>
                <a:gd name="connsiteY4" fmla="*/ 45693 h 4010094"/>
                <a:gd name="connsiteX5" fmla="*/ 45693 w 1171331"/>
                <a:gd name="connsiteY5" fmla="*/ 457716 h 4010094"/>
                <a:gd name="connsiteX6" fmla="*/ 469109 w 1171331"/>
                <a:gd name="connsiteY6" fmla="*/ 1458345 h 4010094"/>
                <a:gd name="connsiteX7" fmla="*/ 564678 w 1171331"/>
                <a:gd name="connsiteY7" fmla="*/ 2540620 h 4010094"/>
                <a:gd name="connsiteX8" fmla="*/ 319743 w 1171331"/>
                <a:gd name="connsiteY8" fmla="*/ 3598844 h 4010094"/>
                <a:gd name="connsiteX9" fmla="*/ 484932 w 1171331"/>
                <a:gd name="connsiteY9" fmla="*/ 3988083 h 4010094"/>
                <a:gd name="connsiteX10" fmla="*/ 669108 w 1171331"/>
                <a:gd name="connsiteY10" fmla="*/ 4001374 h 4010094"/>
                <a:gd name="connsiteX11" fmla="*/ 874171 w 1171331"/>
                <a:gd name="connsiteY11" fmla="*/ 3822893 h 4010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1331" h="4010094">
                  <a:moveTo>
                    <a:pt x="874171" y="3822893"/>
                  </a:moveTo>
                  <a:cubicBezTo>
                    <a:pt x="1034930" y="3425427"/>
                    <a:pt x="1131764" y="3007707"/>
                    <a:pt x="1161511" y="2581759"/>
                  </a:cubicBezTo>
                  <a:cubicBezTo>
                    <a:pt x="1191258" y="2157077"/>
                    <a:pt x="1153283" y="1730496"/>
                    <a:pt x="1049486" y="1313409"/>
                  </a:cubicBezTo>
                  <a:cubicBezTo>
                    <a:pt x="945689" y="896322"/>
                    <a:pt x="778602" y="502020"/>
                    <a:pt x="552653" y="140629"/>
                  </a:cubicBezTo>
                  <a:cubicBezTo>
                    <a:pt x="465312" y="756"/>
                    <a:pt x="280502" y="-42282"/>
                    <a:pt x="140629" y="45693"/>
                  </a:cubicBezTo>
                  <a:cubicBezTo>
                    <a:pt x="756" y="133034"/>
                    <a:pt x="-42282" y="317844"/>
                    <a:pt x="45693" y="457716"/>
                  </a:cubicBezTo>
                  <a:cubicBezTo>
                    <a:pt x="238097" y="765310"/>
                    <a:pt x="380502" y="1102018"/>
                    <a:pt x="469109" y="1458345"/>
                  </a:cubicBezTo>
                  <a:cubicBezTo>
                    <a:pt x="557716" y="1814040"/>
                    <a:pt x="589994" y="2178596"/>
                    <a:pt x="564678" y="2540620"/>
                  </a:cubicBezTo>
                  <a:cubicBezTo>
                    <a:pt x="539362" y="2903909"/>
                    <a:pt x="457084" y="3259604"/>
                    <a:pt x="319743" y="3598844"/>
                  </a:cubicBezTo>
                  <a:cubicBezTo>
                    <a:pt x="257717" y="3752007"/>
                    <a:pt x="331767" y="3926057"/>
                    <a:pt x="484932" y="3988083"/>
                  </a:cubicBezTo>
                  <a:cubicBezTo>
                    <a:pt x="545691" y="4012766"/>
                    <a:pt x="610247" y="4015930"/>
                    <a:pt x="669108" y="4001374"/>
                  </a:cubicBezTo>
                  <a:cubicBezTo>
                    <a:pt x="758981" y="3978589"/>
                    <a:pt x="836829" y="3914665"/>
                    <a:pt x="874171" y="3822893"/>
                  </a:cubicBezTo>
                  <a:close/>
                </a:path>
              </a:pathLst>
            </a:custGeom>
            <a:solidFill>
              <a:schemeClr val="tx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Graphic 26">
              <a:extLst>
                <a:ext uri="{FF2B5EF4-FFF2-40B4-BE49-F238E27FC236}">
                  <a16:creationId xmlns:a16="http://schemas.microsoft.com/office/drawing/2014/main" id="{A09AB5FB-595C-4E3D-B561-77800912A53A}"/>
                </a:ext>
              </a:extLst>
            </p:cNvPr>
            <p:cNvSpPr/>
            <p:nvPr/>
          </p:nvSpPr>
          <p:spPr>
            <a:xfrm>
              <a:off x="1991978" y="-1833792"/>
              <a:ext cx="8611721" cy="2932598"/>
            </a:xfrm>
            <a:custGeom>
              <a:avLst/>
              <a:gdLst>
                <a:gd name="connsiteX0" fmla="*/ 8471093 w 8611721"/>
                <a:gd name="connsiteY0" fmla="*/ 2886852 h 2932598"/>
                <a:gd name="connsiteX1" fmla="*/ 8566029 w 8611721"/>
                <a:gd name="connsiteY1" fmla="*/ 2474829 h 2932598"/>
                <a:gd name="connsiteX2" fmla="*/ 7484388 w 8611721"/>
                <a:gd name="connsiteY2" fmla="*/ 1232429 h 2932598"/>
                <a:gd name="connsiteX3" fmla="*/ 6073634 w 8611721"/>
                <a:gd name="connsiteY3" fmla="*/ 384330 h 2932598"/>
                <a:gd name="connsiteX4" fmla="*/ 4469210 w 8611721"/>
                <a:gd name="connsiteY4" fmla="*/ 12813 h 2932598"/>
                <a:gd name="connsiteX5" fmla="*/ 2828710 w 8611721"/>
                <a:gd name="connsiteY5" fmla="*/ 157749 h 2932598"/>
                <a:gd name="connsiteX6" fmla="*/ 1312261 w 8611721"/>
                <a:gd name="connsiteY6" fmla="*/ 800152 h 2932598"/>
                <a:gd name="connsiteX7" fmla="*/ 69860 w 8611721"/>
                <a:gd name="connsiteY7" fmla="*/ 1881793 h 2932598"/>
                <a:gd name="connsiteX8" fmla="*/ 107202 w 8611721"/>
                <a:gd name="connsiteY8" fmla="*/ 2303311 h 2932598"/>
                <a:gd name="connsiteX9" fmla="*/ 528719 w 8611721"/>
                <a:gd name="connsiteY9" fmla="*/ 2265969 h 2932598"/>
                <a:gd name="connsiteX10" fmla="*/ 1629981 w 8611721"/>
                <a:gd name="connsiteY10" fmla="*/ 1307745 h 2932598"/>
                <a:gd name="connsiteX11" fmla="*/ 2974279 w 8611721"/>
                <a:gd name="connsiteY11" fmla="*/ 738760 h 2932598"/>
                <a:gd name="connsiteX12" fmla="*/ 4428071 w 8611721"/>
                <a:gd name="connsiteY12" fmla="*/ 610279 h 2932598"/>
                <a:gd name="connsiteX13" fmla="*/ 5849585 w 8611721"/>
                <a:gd name="connsiteY13" fmla="*/ 939392 h 2932598"/>
                <a:gd name="connsiteX14" fmla="*/ 7100845 w 8611721"/>
                <a:gd name="connsiteY14" fmla="*/ 1691287 h 2932598"/>
                <a:gd name="connsiteX15" fmla="*/ 8059069 w 8611721"/>
                <a:gd name="connsiteY15" fmla="*/ 2791916 h 2932598"/>
                <a:gd name="connsiteX16" fmla="*/ 8385017 w 8611721"/>
                <a:gd name="connsiteY16" fmla="*/ 2923561 h 2932598"/>
                <a:gd name="connsiteX17" fmla="*/ 8471093 w 8611721"/>
                <a:gd name="connsiteY17" fmla="*/ 2886852 h 293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11721" h="2932598">
                  <a:moveTo>
                    <a:pt x="8471093" y="2886852"/>
                  </a:moveTo>
                  <a:cubicBezTo>
                    <a:pt x="8610965" y="2799511"/>
                    <a:pt x="8654003" y="2614701"/>
                    <a:pt x="8566029" y="2474829"/>
                  </a:cubicBezTo>
                  <a:cubicBezTo>
                    <a:pt x="8273626" y="2006476"/>
                    <a:pt x="7909703" y="1588123"/>
                    <a:pt x="7484388" y="1232429"/>
                  </a:cubicBezTo>
                  <a:cubicBezTo>
                    <a:pt x="7060339" y="877367"/>
                    <a:pt x="6585657" y="591925"/>
                    <a:pt x="6073634" y="384330"/>
                  </a:cubicBezTo>
                  <a:cubicBezTo>
                    <a:pt x="5559712" y="176103"/>
                    <a:pt x="5019841" y="51420"/>
                    <a:pt x="4469210" y="12813"/>
                  </a:cubicBezTo>
                  <a:cubicBezTo>
                    <a:pt x="3919845" y="-25795"/>
                    <a:pt x="3367949" y="22939"/>
                    <a:pt x="2828710" y="157749"/>
                  </a:cubicBezTo>
                  <a:cubicBezTo>
                    <a:pt x="2289472" y="292559"/>
                    <a:pt x="1779347" y="508381"/>
                    <a:pt x="1312261" y="800152"/>
                  </a:cubicBezTo>
                  <a:cubicBezTo>
                    <a:pt x="843908" y="1092556"/>
                    <a:pt x="425555" y="1456478"/>
                    <a:pt x="69860" y="1881793"/>
                  </a:cubicBezTo>
                  <a:cubicBezTo>
                    <a:pt x="-36468" y="2008375"/>
                    <a:pt x="-19380" y="2196982"/>
                    <a:pt x="107202" y="2303311"/>
                  </a:cubicBezTo>
                  <a:cubicBezTo>
                    <a:pt x="233784" y="2409639"/>
                    <a:pt x="422391" y="2392551"/>
                    <a:pt x="528719" y="2265969"/>
                  </a:cubicBezTo>
                  <a:cubicBezTo>
                    <a:pt x="844541" y="1888755"/>
                    <a:pt x="1214793" y="1566604"/>
                    <a:pt x="1629981" y="1307745"/>
                  </a:cubicBezTo>
                  <a:cubicBezTo>
                    <a:pt x="2043903" y="1049518"/>
                    <a:pt x="2495800" y="857746"/>
                    <a:pt x="2974279" y="738760"/>
                  </a:cubicBezTo>
                  <a:cubicBezTo>
                    <a:pt x="3452125" y="619773"/>
                    <a:pt x="3941364" y="576102"/>
                    <a:pt x="4428071" y="610279"/>
                  </a:cubicBezTo>
                  <a:cubicBezTo>
                    <a:pt x="4916044" y="644456"/>
                    <a:pt x="5394523" y="755215"/>
                    <a:pt x="5849585" y="939392"/>
                  </a:cubicBezTo>
                  <a:cubicBezTo>
                    <a:pt x="6304013" y="1123568"/>
                    <a:pt x="6724897" y="1376732"/>
                    <a:pt x="7100845" y="1691287"/>
                  </a:cubicBezTo>
                  <a:cubicBezTo>
                    <a:pt x="7477426" y="2006476"/>
                    <a:pt x="7799577" y="2377361"/>
                    <a:pt x="8059069" y="2791916"/>
                  </a:cubicBezTo>
                  <a:cubicBezTo>
                    <a:pt x="8129322" y="2904574"/>
                    <a:pt x="8262866" y="2954574"/>
                    <a:pt x="8385017" y="2923561"/>
                  </a:cubicBezTo>
                  <a:cubicBezTo>
                    <a:pt x="8414764" y="2915966"/>
                    <a:pt x="8443877" y="2903941"/>
                    <a:pt x="8471093" y="2886852"/>
                  </a:cubicBezTo>
                  <a:close/>
                </a:path>
              </a:pathLst>
            </a:custGeom>
            <a:solidFill>
              <a:schemeClr val="tx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Graphic 26">
              <a:extLst>
                <a:ext uri="{FF2B5EF4-FFF2-40B4-BE49-F238E27FC236}">
                  <a16:creationId xmlns:a16="http://schemas.microsoft.com/office/drawing/2014/main" id="{FD8FDC39-6BF9-4BF8-9C2B-3CBD4B63715E}"/>
                </a:ext>
              </a:extLst>
            </p:cNvPr>
            <p:cNvSpPr/>
            <p:nvPr/>
          </p:nvSpPr>
          <p:spPr>
            <a:xfrm>
              <a:off x="978867" y="4332096"/>
              <a:ext cx="2223713" cy="3200336"/>
            </a:xfrm>
            <a:custGeom>
              <a:avLst/>
              <a:gdLst>
                <a:gd name="connsiteX0" fmla="*/ 2153853 w 2223713"/>
                <a:gd name="connsiteY0" fmla="*/ 3093091 h 3200336"/>
                <a:gd name="connsiteX1" fmla="*/ 2116512 w 2223713"/>
                <a:gd name="connsiteY1" fmla="*/ 2671573 h 3200336"/>
                <a:gd name="connsiteX2" fmla="*/ 1158288 w 2223713"/>
                <a:gd name="connsiteY2" fmla="*/ 1570945 h 3200336"/>
                <a:gd name="connsiteX3" fmla="*/ 589303 w 2223713"/>
                <a:gd name="connsiteY3" fmla="*/ 226646 h 3200336"/>
                <a:gd name="connsiteX4" fmla="*/ 226646 w 2223713"/>
                <a:gd name="connsiteY4" fmla="*/ 8925 h 3200336"/>
                <a:gd name="connsiteX5" fmla="*/ 8925 w 2223713"/>
                <a:gd name="connsiteY5" fmla="*/ 371582 h 3200336"/>
                <a:gd name="connsiteX6" fmla="*/ 651328 w 2223713"/>
                <a:gd name="connsiteY6" fmla="*/ 1888032 h 3200336"/>
                <a:gd name="connsiteX7" fmla="*/ 1732969 w 2223713"/>
                <a:gd name="connsiteY7" fmla="*/ 3130432 h 3200336"/>
                <a:gd name="connsiteX8" fmla="*/ 1997525 w 2223713"/>
                <a:gd name="connsiteY8" fmla="*/ 3191192 h 3200336"/>
                <a:gd name="connsiteX9" fmla="*/ 2153853 w 2223713"/>
                <a:gd name="connsiteY9" fmla="*/ 3093091 h 3200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3713" h="3200336">
                  <a:moveTo>
                    <a:pt x="2153853" y="3093091"/>
                  </a:moveTo>
                  <a:cubicBezTo>
                    <a:pt x="2260182" y="2966509"/>
                    <a:pt x="2243094" y="2777902"/>
                    <a:pt x="2116512" y="2671573"/>
                  </a:cubicBezTo>
                  <a:cubicBezTo>
                    <a:pt x="1739931" y="2356385"/>
                    <a:pt x="1417780" y="1985500"/>
                    <a:pt x="1158288" y="1570945"/>
                  </a:cubicBezTo>
                  <a:cubicBezTo>
                    <a:pt x="900061" y="1157022"/>
                    <a:pt x="708290" y="705125"/>
                    <a:pt x="589303" y="226646"/>
                  </a:cubicBezTo>
                  <a:cubicBezTo>
                    <a:pt x="549429" y="66520"/>
                    <a:pt x="386772" y="-30948"/>
                    <a:pt x="226646" y="8925"/>
                  </a:cubicBezTo>
                  <a:cubicBezTo>
                    <a:pt x="66520" y="48799"/>
                    <a:pt x="-30948" y="211456"/>
                    <a:pt x="8925" y="371582"/>
                  </a:cubicBezTo>
                  <a:cubicBezTo>
                    <a:pt x="143102" y="910820"/>
                    <a:pt x="359557" y="1420945"/>
                    <a:pt x="651328" y="1888032"/>
                  </a:cubicBezTo>
                  <a:cubicBezTo>
                    <a:pt x="943732" y="2356385"/>
                    <a:pt x="1307654" y="2774737"/>
                    <a:pt x="1732969" y="3130432"/>
                  </a:cubicBezTo>
                  <a:cubicBezTo>
                    <a:pt x="1809551" y="3194356"/>
                    <a:pt x="1908285" y="3213976"/>
                    <a:pt x="1997525" y="3191192"/>
                  </a:cubicBezTo>
                  <a:cubicBezTo>
                    <a:pt x="2056386" y="3176634"/>
                    <a:pt x="2112082" y="3143091"/>
                    <a:pt x="2153853" y="3093091"/>
                  </a:cubicBezTo>
                  <a:close/>
                </a:path>
              </a:pathLst>
            </a:custGeom>
            <a:solidFill>
              <a:schemeClr val="tx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Graphic 26">
              <a:extLst>
                <a:ext uri="{FF2B5EF4-FFF2-40B4-BE49-F238E27FC236}">
                  <a16:creationId xmlns:a16="http://schemas.microsoft.com/office/drawing/2014/main" id="{C3F3B112-A3DD-428B-B8FC-984402949441}"/>
                </a:ext>
              </a:extLst>
            </p:cNvPr>
            <p:cNvSpPr/>
            <p:nvPr/>
          </p:nvSpPr>
          <p:spPr>
            <a:xfrm>
              <a:off x="2327027" y="1654323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1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1"/>
                    <a:pt x="598732" y="299366"/>
                  </a:cubicBezTo>
                  <a:close/>
                </a:path>
              </a:pathLst>
            </a:custGeom>
            <a:solidFill>
              <a:schemeClr val="tx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Graphic 26">
              <a:extLst>
                <a:ext uri="{FF2B5EF4-FFF2-40B4-BE49-F238E27FC236}">
                  <a16:creationId xmlns:a16="http://schemas.microsoft.com/office/drawing/2014/main" id="{FD8E33AC-2258-4359-A3AC-0A48DD3D7E5E}"/>
                </a:ext>
              </a:extLst>
            </p:cNvPr>
            <p:cNvSpPr/>
            <p:nvPr/>
          </p:nvSpPr>
          <p:spPr>
            <a:xfrm>
              <a:off x="2024171" y="2868149"/>
              <a:ext cx="711147" cy="1773568"/>
            </a:xfrm>
            <a:custGeom>
              <a:avLst/>
              <a:gdLst>
                <a:gd name="connsiteX0" fmla="*/ 702222 w 711147"/>
                <a:gd name="connsiteY0" fmla="*/ 1401986 h 1773568"/>
                <a:gd name="connsiteX1" fmla="*/ 606653 w 711147"/>
                <a:gd name="connsiteY1" fmla="*/ 319712 h 1773568"/>
                <a:gd name="connsiteX2" fmla="*/ 328806 w 711147"/>
                <a:gd name="connsiteY2" fmla="*/ 726 h 1773568"/>
                <a:gd name="connsiteX3" fmla="*/ 9820 w 711147"/>
                <a:gd name="connsiteY3" fmla="*/ 278573 h 1773568"/>
                <a:gd name="connsiteX4" fmla="*/ 121845 w 711147"/>
                <a:gd name="connsiteY4" fmla="*/ 1546923 h 1773568"/>
                <a:gd name="connsiteX5" fmla="*/ 484502 w 711147"/>
                <a:gd name="connsiteY5" fmla="*/ 1764643 h 1773568"/>
                <a:gd name="connsiteX6" fmla="*/ 702222 w 711147"/>
                <a:gd name="connsiteY6" fmla="*/ 1401986 h 177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1147" h="1773568">
                  <a:moveTo>
                    <a:pt x="702222" y="1401986"/>
                  </a:moveTo>
                  <a:cubicBezTo>
                    <a:pt x="613615" y="1046291"/>
                    <a:pt x="581337" y="682368"/>
                    <a:pt x="606653" y="319712"/>
                  </a:cubicBezTo>
                  <a:cubicBezTo>
                    <a:pt x="618045" y="155156"/>
                    <a:pt x="493995" y="12118"/>
                    <a:pt x="328806" y="726"/>
                  </a:cubicBezTo>
                  <a:cubicBezTo>
                    <a:pt x="164250" y="-10666"/>
                    <a:pt x="21212" y="113384"/>
                    <a:pt x="9820" y="278573"/>
                  </a:cubicBezTo>
                  <a:cubicBezTo>
                    <a:pt x="-19927" y="703255"/>
                    <a:pt x="18048" y="1129836"/>
                    <a:pt x="121845" y="1546923"/>
                  </a:cubicBezTo>
                  <a:cubicBezTo>
                    <a:pt x="161718" y="1707048"/>
                    <a:pt x="324376" y="1804516"/>
                    <a:pt x="484502" y="1764643"/>
                  </a:cubicBezTo>
                  <a:cubicBezTo>
                    <a:pt x="644628" y="1724770"/>
                    <a:pt x="742095" y="1562112"/>
                    <a:pt x="702222" y="1401986"/>
                  </a:cubicBezTo>
                  <a:close/>
                </a:path>
              </a:pathLst>
            </a:custGeom>
            <a:solidFill>
              <a:schemeClr val="bg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Graphic 26">
              <a:extLst>
                <a:ext uri="{FF2B5EF4-FFF2-40B4-BE49-F238E27FC236}">
                  <a16:creationId xmlns:a16="http://schemas.microsoft.com/office/drawing/2014/main" id="{C52EA6D5-D913-4438-9AB8-5A0B783C2AF8}"/>
                </a:ext>
              </a:extLst>
            </p:cNvPr>
            <p:cNvSpPr/>
            <p:nvPr/>
          </p:nvSpPr>
          <p:spPr>
            <a:xfrm>
              <a:off x="10611107" y="1930207"/>
              <a:ext cx="747051" cy="2145218"/>
            </a:xfrm>
            <a:custGeom>
              <a:avLst/>
              <a:gdLst>
                <a:gd name="connsiteX0" fmla="*/ 734239 w 747051"/>
                <a:gd name="connsiteY0" fmla="*/ 1867146 h 2145218"/>
                <a:gd name="connsiteX1" fmla="*/ 589302 w 747051"/>
                <a:gd name="connsiteY1" fmla="*/ 226646 h 2145218"/>
                <a:gd name="connsiteX2" fmla="*/ 226645 w 747051"/>
                <a:gd name="connsiteY2" fmla="*/ 8925 h 2145218"/>
                <a:gd name="connsiteX3" fmla="*/ 8925 w 747051"/>
                <a:gd name="connsiteY3" fmla="*/ 371582 h 2145218"/>
                <a:gd name="connsiteX4" fmla="*/ 137405 w 747051"/>
                <a:gd name="connsiteY4" fmla="*/ 1825374 h 2145218"/>
                <a:gd name="connsiteX5" fmla="*/ 415253 w 747051"/>
                <a:gd name="connsiteY5" fmla="*/ 2144360 h 2145218"/>
                <a:gd name="connsiteX6" fmla="*/ 508290 w 747051"/>
                <a:gd name="connsiteY6" fmla="*/ 2136132 h 2145218"/>
                <a:gd name="connsiteX7" fmla="*/ 734239 w 747051"/>
                <a:gd name="connsiteY7" fmla="*/ 1867146 h 2145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7051" h="2145218">
                  <a:moveTo>
                    <a:pt x="734239" y="1867146"/>
                  </a:moveTo>
                  <a:cubicBezTo>
                    <a:pt x="772846" y="1317781"/>
                    <a:pt x="724112" y="765885"/>
                    <a:pt x="589302" y="226646"/>
                  </a:cubicBezTo>
                  <a:cubicBezTo>
                    <a:pt x="549429" y="66520"/>
                    <a:pt x="386772" y="-30948"/>
                    <a:pt x="226645" y="8925"/>
                  </a:cubicBezTo>
                  <a:cubicBezTo>
                    <a:pt x="66520" y="48799"/>
                    <a:pt x="-30948" y="211456"/>
                    <a:pt x="8925" y="371582"/>
                  </a:cubicBezTo>
                  <a:cubicBezTo>
                    <a:pt x="127912" y="849429"/>
                    <a:pt x="171583" y="1338667"/>
                    <a:pt x="137405" y="1825374"/>
                  </a:cubicBezTo>
                  <a:cubicBezTo>
                    <a:pt x="126013" y="1989930"/>
                    <a:pt x="250063" y="2132967"/>
                    <a:pt x="415253" y="2144360"/>
                  </a:cubicBezTo>
                  <a:cubicBezTo>
                    <a:pt x="447531" y="2146892"/>
                    <a:pt x="478543" y="2143727"/>
                    <a:pt x="508290" y="2136132"/>
                  </a:cubicBezTo>
                  <a:cubicBezTo>
                    <a:pt x="630442" y="2106386"/>
                    <a:pt x="725378" y="2000057"/>
                    <a:pt x="734239" y="1867146"/>
                  </a:cubicBezTo>
                  <a:close/>
                </a:path>
              </a:pathLst>
            </a:custGeom>
            <a:solidFill>
              <a:schemeClr val="bg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Graphic 26">
              <a:extLst>
                <a:ext uri="{FF2B5EF4-FFF2-40B4-BE49-F238E27FC236}">
                  <a16:creationId xmlns:a16="http://schemas.microsoft.com/office/drawing/2014/main" id="{432AFDB6-8512-4E66-9DFB-1644E70853CA}"/>
                </a:ext>
              </a:extLst>
            </p:cNvPr>
            <p:cNvSpPr/>
            <p:nvPr/>
          </p:nvSpPr>
          <p:spPr>
            <a:xfrm>
              <a:off x="572481" y="6394687"/>
              <a:ext cx="10537663" cy="3492803"/>
            </a:xfrm>
            <a:custGeom>
              <a:avLst/>
              <a:gdLst>
                <a:gd name="connsiteX0" fmla="*/ 8943759 w 10537663"/>
                <a:gd name="connsiteY0" fmla="*/ 2512139 h 3492803"/>
                <a:gd name="connsiteX1" fmla="*/ 10467803 w 10537663"/>
                <a:gd name="connsiteY1" fmla="*/ 1185562 h 3492803"/>
                <a:gd name="connsiteX2" fmla="*/ 10430462 w 10537663"/>
                <a:gd name="connsiteY2" fmla="*/ 764045 h 3492803"/>
                <a:gd name="connsiteX3" fmla="*/ 10008944 w 10537663"/>
                <a:gd name="connsiteY3" fmla="*/ 801386 h 3492803"/>
                <a:gd name="connsiteX4" fmla="*/ 8626671 w 10537663"/>
                <a:gd name="connsiteY4" fmla="*/ 2004546 h 3492803"/>
                <a:gd name="connsiteX5" fmla="*/ 6938703 w 10537663"/>
                <a:gd name="connsiteY5" fmla="*/ 2719100 h 3492803"/>
                <a:gd name="connsiteX6" fmla="*/ 5112761 w 10537663"/>
                <a:gd name="connsiteY6" fmla="*/ 2880491 h 3492803"/>
                <a:gd name="connsiteX7" fmla="*/ 3327325 w 10537663"/>
                <a:gd name="connsiteY7" fmla="*/ 2467202 h 3492803"/>
                <a:gd name="connsiteX8" fmla="*/ 1755813 w 10537663"/>
                <a:gd name="connsiteY8" fmla="*/ 1522902 h 3492803"/>
                <a:gd name="connsiteX9" fmla="*/ 552653 w 10537663"/>
                <a:gd name="connsiteY9" fmla="*/ 140629 h 3492803"/>
                <a:gd name="connsiteX10" fmla="*/ 140629 w 10537663"/>
                <a:gd name="connsiteY10" fmla="*/ 45693 h 3492803"/>
                <a:gd name="connsiteX11" fmla="*/ 45693 w 10537663"/>
                <a:gd name="connsiteY11" fmla="*/ 457717 h 3492803"/>
                <a:gd name="connsiteX12" fmla="*/ 1372270 w 10537663"/>
                <a:gd name="connsiteY12" fmla="*/ 1981761 h 3492803"/>
                <a:gd name="connsiteX13" fmla="*/ 3103275 w 10537663"/>
                <a:gd name="connsiteY13" fmla="*/ 3021630 h 3492803"/>
                <a:gd name="connsiteX14" fmla="*/ 5071622 w 10537663"/>
                <a:gd name="connsiteY14" fmla="*/ 3477325 h 3492803"/>
                <a:gd name="connsiteX15" fmla="*/ 7083639 w 10537663"/>
                <a:gd name="connsiteY15" fmla="*/ 3299478 h 3492803"/>
                <a:gd name="connsiteX16" fmla="*/ 8943759 w 10537663"/>
                <a:gd name="connsiteY16" fmla="*/ 2512139 h 3492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37663" h="3492803">
                  <a:moveTo>
                    <a:pt x="8943759" y="2512139"/>
                  </a:moveTo>
                  <a:cubicBezTo>
                    <a:pt x="9518439" y="2153280"/>
                    <a:pt x="10031095" y="1707079"/>
                    <a:pt x="10467803" y="1185562"/>
                  </a:cubicBezTo>
                  <a:cubicBezTo>
                    <a:pt x="10574132" y="1058980"/>
                    <a:pt x="10557043" y="870373"/>
                    <a:pt x="10430462" y="764045"/>
                  </a:cubicBezTo>
                  <a:cubicBezTo>
                    <a:pt x="10303880" y="657716"/>
                    <a:pt x="10115273" y="674804"/>
                    <a:pt x="10008944" y="801386"/>
                  </a:cubicBezTo>
                  <a:cubicBezTo>
                    <a:pt x="9612743" y="1274169"/>
                    <a:pt x="9147555" y="1679231"/>
                    <a:pt x="8626671" y="2004546"/>
                  </a:cubicBezTo>
                  <a:cubicBezTo>
                    <a:pt x="8107053" y="2329228"/>
                    <a:pt x="7539334" y="2569733"/>
                    <a:pt x="6938703" y="2719100"/>
                  </a:cubicBezTo>
                  <a:cubicBezTo>
                    <a:pt x="6338073" y="2869100"/>
                    <a:pt x="5724151" y="2922897"/>
                    <a:pt x="5112761" y="2880491"/>
                  </a:cubicBezTo>
                  <a:cubicBezTo>
                    <a:pt x="4500105" y="2837454"/>
                    <a:pt x="3899475" y="2698847"/>
                    <a:pt x="3327325" y="2467202"/>
                  </a:cubicBezTo>
                  <a:cubicBezTo>
                    <a:pt x="2756441" y="2236191"/>
                    <a:pt x="2227963" y="1918470"/>
                    <a:pt x="1755813" y="1522902"/>
                  </a:cubicBezTo>
                  <a:cubicBezTo>
                    <a:pt x="1283030" y="1126701"/>
                    <a:pt x="877968" y="661513"/>
                    <a:pt x="552653" y="140629"/>
                  </a:cubicBezTo>
                  <a:cubicBezTo>
                    <a:pt x="465311" y="756"/>
                    <a:pt x="280502" y="-42282"/>
                    <a:pt x="140629" y="45693"/>
                  </a:cubicBezTo>
                  <a:cubicBezTo>
                    <a:pt x="756" y="133034"/>
                    <a:pt x="-42282" y="317844"/>
                    <a:pt x="45693" y="457717"/>
                  </a:cubicBezTo>
                  <a:cubicBezTo>
                    <a:pt x="404552" y="1032397"/>
                    <a:pt x="850753" y="1545054"/>
                    <a:pt x="1372270" y="1981761"/>
                  </a:cubicBezTo>
                  <a:cubicBezTo>
                    <a:pt x="1891888" y="2417202"/>
                    <a:pt x="2474797" y="2767201"/>
                    <a:pt x="3103275" y="3021630"/>
                  </a:cubicBezTo>
                  <a:cubicBezTo>
                    <a:pt x="3733653" y="3276693"/>
                    <a:pt x="4395675" y="3430489"/>
                    <a:pt x="5071622" y="3477325"/>
                  </a:cubicBezTo>
                  <a:cubicBezTo>
                    <a:pt x="5745670" y="3524160"/>
                    <a:pt x="6422250" y="3464667"/>
                    <a:pt x="7083639" y="3299478"/>
                  </a:cubicBezTo>
                  <a:cubicBezTo>
                    <a:pt x="7745029" y="3134921"/>
                    <a:pt x="8370976" y="2869732"/>
                    <a:pt x="8943759" y="2512139"/>
                  </a:cubicBezTo>
                  <a:close/>
                </a:path>
              </a:pathLst>
            </a:custGeom>
            <a:solidFill>
              <a:schemeClr val="bg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Graphic 26">
              <a:extLst>
                <a:ext uri="{FF2B5EF4-FFF2-40B4-BE49-F238E27FC236}">
                  <a16:creationId xmlns:a16="http://schemas.microsoft.com/office/drawing/2014/main" id="{FAD1ADB4-D233-4BE2-8B96-B7C817E06784}"/>
                </a:ext>
              </a:extLst>
            </p:cNvPr>
            <p:cNvSpPr/>
            <p:nvPr/>
          </p:nvSpPr>
          <p:spPr>
            <a:xfrm>
              <a:off x="2561836" y="5068866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solidFill>
              <a:schemeClr val="bg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Graphic 26">
              <a:extLst>
                <a:ext uri="{FF2B5EF4-FFF2-40B4-BE49-F238E27FC236}">
                  <a16:creationId xmlns:a16="http://schemas.microsoft.com/office/drawing/2014/main" id="{09ABA772-0F45-4A1C-A199-B1451C9C1AF9}"/>
                </a:ext>
              </a:extLst>
            </p:cNvPr>
            <p:cNvSpPr/>
            <p:nvPr/>
          </p:nvSpPr>
          <p:spPr>
            <a:xfrm>
              <a:off x="8221307" y="246101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2" y="598732"/>
                    <a:pt x="299366" y="598732"/>
                  </a:cubicBezTo>
                  <a:cubicBezTo>
                    <a:pt x="134031" y="598732"/>
                    <a:pt x="0" y="464701"/>
                    <a:pt x="0" y="299366"/>
                  </a:cubicBezTo>
                  <a:cubicBezTo>
                    <a:pt x="0" y="134031"/>
                    <a:pt x="134030" y="0"/>
                    <a:pt x="299366" y="0"/>
                  </a:cubicBezTo>
                  <a:cubicBezTo>
                    <a:pt x="464701" y="0"/>
                    <a:pt x="598732" y="134031"/>
                    <a:pt x="598732" y="299366"/>
                  </a:cubicBezTo>
                  <a:close/>
                </a:path>
              </a:pathLst>
            </a:custGeom>
            <a:solidFill>
              <a:schemeClr val="bg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0C864D-B184-48E2-8C4C-53FC2E6BF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25000" y="1458299"/>
            <a:ext cx="3942000" cy="394140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>
                <a:solidFill>
                  <a:schemeClr val="accent6"/>
                </a:solidFill>
              </a:defRPr>
            </a:lvl2pPr>
            <a:lvl3pPr algn="ctr">
              <a:defRPr b="1">
                <a:solidFill>
                  <a:schemeClr val="accent6"/>
                </a:solidFill>
              </a:defRPr>
            </a:lvl3pPr>
            <a:lvl4pPr algn="ctr">
              <a:defRPr b="1">
                <a:solidFill>
                  <a:schemeClr val="accent6"/>
                </a:solidFill>
              </a:defRPr>
            </a:lvl4pPr>
            <a:lvl5pPr algn="ctr">
              <a:defRPr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  <a:endParaRPr lang="en-GB" dirty="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7DC1CBC1-36B2-42BF-9964-21730978CA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2171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- White -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raphic 3">
            <a:extLst>
              <a:ext uri="{FF2B5EF4-FFF2-40B4-BE49-F238E27FC236}">
                <a16:creationId xmlns:a16="http://schemas.microsoft.com/office/drawing/2014/main" id="{1B7DD8D3-66FB-43C3-9A2B-E59E25B3DE6C}"/>
              </a:ext>
            </a:extLst>
          </p:cNvPr>
          <p:cNvSpPr/>
          <p:nvPr userDrawn="1"/>
        </p:nvSpPr>
        <p:spPr>
          <a:xfrm>
            <a:off x="-1767584" y="1697540"/>
            <a:ext cx="1014385" cy="2001225"/>
          </a:xfrm>
          <a:custGeom>
            <a:avLst/>
            <a:gdLst>
              <a:gd name="connsiteX0" fmla="*/ 269765 w 1014385"/>
              <a:gd name="connsiteY0" fmla="*/ 2001225 h 2001225"/>
              <a:gd name="connsiteX1" fmla="*/ 0 w 1014385"/>
              <a:gd name="connsiteY1" fmla="*/ 1731460 h 2001225"/>
              <a:gd name="connsiteX2" fmla="*/ 134255 w 1014385"/>
              <a:gd name="connsiteY2" fmla="*/ 879503 h 2001225"/>
              <a:gd name="connsiteX3" fmla="*/ 526356 w 1014385"/>
              <a:gd name="connsiteY3" fmla="*/ 110985 h 2001225"/>
              <a:gd name="connsiteX4" fmla="*/ 903401 w 1014385"/>
              <a:gd name="connsiteY4" fmla="*/ 51385 h 2001225"/>
              <a:gd name="connsiteX5" fmla="*/ 963000 w 1014385"/>
              <a:gd name="connsiteY5" fmla="*/ 428430 h 2001225"/>
              <a:gd name="connsiteX6" fmla="*/ 648065 w 1014385"/>
              <a:gd name="connsiteY6" fmla="*/ 1045754 h 2001225"/>
              <a:gd name="connsiteX7" fmla="*/ 540158 w 1014385"/>
              <a:gd name="connsiteY7" fmla="*/ 1730833 h 2001225"/>
              <a:gd name="connsiteX8" fmla="*/ 269765 w 1014385"/>
              <a:gd name="connsiteY8" fmla="*/ 2001225 h 2001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4385" h="2001225">
                <a:moveTo>
                  <a:pt x="269765" y="2001225"/>
                </a:moveTo>
                <a:cubicBezTo>
                  <a:pt x="121081" y="2001225"/>
                  <a:pt x="0" y="1880144"/>
                  <a:pt x="0" y="1731460"/>
                </a:cubicBezTo>
                <a:cubicBezTo>
                  <a:pt x="0" y="1440364"/>
                  <a:pt x="45170" y="1154287"/>
                  <a:pt x="134255" y="879503"/>
                </a:cubicBezTo>
                <a:cubicBezTo>
                  <a:pt x="223341" y="604091"/>
                  <a:pt x="355714" y="345618"/>
                  <a:pt x="526356" y="110985"/>
                </a:cubicBezTo>
                <a:cubicBezTo>
                  <a:pt x="614187" y="-9469"/>
                  <a:pt x="782947" y="-35818"/>
                  <a:pt x="903401" y="51385"/>
                </a:cubicBezTo>
                <a:cubicBezTo>
                  <a:pt x="1023854" y="139216"/>
                  <a:pt x="1050203" y="307976"/>
                  <a:pt x="963000" y="428430"/>
                </a:cubicBezTo>
                <a:cubicBezTo>
                  <a:pt x="825608" y="617266"/>
                  <a:pt x="719584" y="824922"/>
                  <a:pt x="648065" y="1045754"/>
                </a:cubicBezTo>
                <a:cubicBezTo>
                  <a:pt x="576545" y="1265957"/>
                  <a:pt x="540158" y="1496826"/>
                  <a:pt x="540158" y="1730833"/>
                </a:cubicBezTo>
                <a:cubicBezTo>
                  <a:pt x="539531" y="1880144"/>
                  <a:pt x="419078" y="2001225"/>
                  <a:pt x="269765" y="2001225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Graphic 3">
            <a:extLst>
              <a:ext uri="{FF2B5EF4-FFF2-40B4-BE49-F238E27FC236}">
                <a16:creationId xmlns:a16="http://schemas.microsoft.com/office/drawing/2014/main" id="{CC860EE4-22E6-44B1-A36E-2B341BBBA076}"/>
              </a:ext>
            </a:extLst>
          </p:cNvPr>
          <p:cNvSpPr/>
          <p:nvPr userDrawn="1"/>
        </p:nvSpPr>
        <p:spPr>
          <a:xfrm>
            <a:off x="2179833" y="1148599"/>
            <a:ext cx="1563953" cy="4011918"/>
          </a:xfrm>
          <a:custGeom>
            <a:avLst/>
            <a:gdLst>
              <a:gd name="connsiteX0" fmla="*/ 819903 w 1563953"/>
              <a:gd name="connsiteY0" fmla="*/ 4011919 h 4011918"/>
              <a:gd name="connsiteX1" fmla="*/ 661181 w 1563953"/>
              <a:gd name="connsiteY1" fmla="*/ 3960475 h 4011918"/>
              <a:gd name="connsiteX2" fmla="*/ 601581 w 1563953"/>
              <a:gd name="connsiteY2" fmla="*/ 3583431 h 4011918"/>
              <a:gd name="connsiteX3" fmla="*/ 916517 w 1563953"/>
              <a:gd name="connsiteY3" fmla="*/ 2966107 h 4011918"/>
              <a:gd name="connsiteX4" fmla="*/ 1024423 w 1563953"/>
              <a:gd name="connsiteY4" fmla="*/ 2281028 h 4011918"/>
              <a:gd name="connsiteX5" fmla="*/ 916517 w 1563953"/>
              <a:gd name="connsiteY5" fmla="*/ 1595950 h 4011918"/>
              <a:gd name="connsiteX6" fmla="*/ 601581 w 1563953"/>
              <a:gd name="connsiteY6" fmla="*/ 978626 h 4011918"/>
              <a:gd name="connsiteX7" fmla="*/ 110985 w 1563953"/>
              <a:gd name="connsiteY7" fmla="*/ 488029 h 4011918"/>
              <a:gd name="connsiteX8" fmla="*/ 51385 w 1563953"/>
              <a:gd name="connsiteY8" fmla="*/ 110985 h 4011918"/>
              <a:gd name="connsiteX9" fmla="*/ 428430 w 1563953"/>
              <a:gd name="connsiteY9" fmla="*/ 51385 h 4011918"/>
              <a:gd name="connsiteX10" fmla="*/ 1037598 w 1563953"/>
              <a:gd name="connsiteY10" fmla="*/ 660553 h 4011918"/>
              <a:gd name="connsiteX11" fmla="*/ 1429699 w 1563953"/>
              <a:gd name="connsiteY11" fmla="*/ 1429071 h 4011918"/>
              <a:gd name="connsiteX12" fmla="*/ 1563954 w 1563953"/>
              <a:gd name="connsiteY12" fmla="*/ 2281028 h 4011918"/>
              <a:gd name="connsiteX13" fmla="*/ 1429699 w 1563953"/>
              <a:gd name="connsiteY13" fmla="*/ 3132986 h 4011918"/>
              <a:gd name="connsiteX14" fmla="*/ 1037598 w 1563953"/>
              <a:gd name="connsiteY14" fmla="*/ 3901504 h 4011918"/>
              <a:gd name="connsiteX15" fmla="*/ 819903 w 1563953"/>
              <a:gd name="connsiteY15" fmla="*/ 4011919 h 4011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63953" h="4011918">
                <a:moveTo>
                  <a:pt x="819903" y="4011919"/>
                </a:moveTo>
                <a:cubicBezTo>
                  <a:pt x="764695" y="4011919"/>
                  <a:pt x="709488" y="3994980"/>
                  <a:pt x="661181" y="3960475"/>
                </a:cubicBezTo>
                <a:cubicBezTo>
                  <a:pt x="540727" y="3872645"/>
                  <a:pt x="514378" y="3703885"/>
                  <a:pt x="601581" y="3583431"/>
                </a:cubicBezTo>
                <a:cubicBezTo>
                  <a:pt x="738974" y="3394595"/>
                  <a:pt x="844998" y="3186939"/>
                  <a:pt x="916517" y="2966107"/>
                </a:cubicBezTo>
                <a:cubicBezTo>
                  <a:pt x="988036" y="2745903"/>
                  <a:pt x="1024423" y="2515034"/>
                  <a:pt x="1024423" y="2281028"/>
                </a:cubicBezTo>
                <a:cubicBezTo>
                  <a:pt x="1024423" y="2047022"/>
                  <a:pt x="988036" y="1816154"/>
                  <a:pt x="916517" y="1595950"/>
                </a:cubicBezTo>
                <a:cubicBezTo>
                  <a:pt x="844998" y="1375118"/>
                  <a:pt x="738974" y="1167462"/>
                  <a:pt x="601581" y="978626"/>
                </a:cubicBezTo>
                <a:cubicBezTo>
                  <a:pt x="464189" y="790417"/>
                  <a:pt x="299193" y="624794"/>
                  <a:pt x="110985" y="488029"/>
                </a:cubicBezTo>
                <a:cubicBezTo>
                  <a:pt x="-9469" y="400198"/>
                  <a:pt x="-35818" y="231438"/>
                  <a:pt x="51385" y="110985"/>
                </a:cubicBezTo>
                <a:cubicBezTo>
                  <a:pt x="139216" y="-9469"/>
                  <a:pt x="307976" y="-35818"/>
                  <a:pt x="428430" y="51385"/>
                </a:cubicBezTo>
                <a:cubicBezTo>
                  <a:pt x="662436" y="222028"/>
                  <a:pt x="867583" y="426548"/>
                  <a:pt x="1037598" y="660553"/>
                </a:cubicBezTo>
                <a:cubicBezTo>
                  <a:pt x="1208240" y="895187"/>
                  <a:pt x="1340613" y="1153660"/>
                  <a:pt x="1429699" y="1429071"/>
                </a:cubicBezTo>
                <a:cubicBezTo>
                  <a:pt x="1518784" y="1703228"/>
                  <a:pt x="1563954" y="1989933"/>
                  <a:pt x="1563954" y="2281028"/>
                </a:cubicBezTo>
                <a:cubicBezTo>
                  <a:pt x="1563954" y="2572124"/>
                  <a:pt x="1518784" y="2858201"/>
                  <a:pt x="1429699" y="3132986"/>
                </a:cubicBezTo>
                <a:cubicBezTo>
                  <a:pt x="1340613" y="3408397"/>
                  <a:pt x="1208240" y="3666870"/>
                  <a:pt x="1037598" y="3901504"/>
                </a:cubicBezTo>
                <a:cubicBezTo>
                  <a:pt x="985527" y="3973023"/>
                  <a:pt x="903343" y="4011919"/>
                  <a:pt x="819903" y="4011919"/>
                </a:cubicBezTo>
                <a:close/>
              </a:path>
            </a:pathLst>
          </a:custGeom>
          <a:noFill/>
          <a:ln w="15875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Graphic 3">
            <a:extLst>
              <a:ext uri="{FF2B5EF4-FFF2-40B4-BE49-F238E27FC236}">
                <a16:creationId xmlns:a16="http://schemas.microsoft.com/office/drawing/2014/main" id="{7F108337-EF79-4973-B368-C5A7281F82D0}"/>
              </a:ext>
            </a:extLst>
          </p:cNvPr>
          <p:cNvSpPr/>
          <p:nvPr userDrawn="1"/>
        </p:nvSpPr>
        <p:spPr>
          <a:xfrm>
            <a:off x="-386784" y="-416726"/>
            <a:ext cx="2750636" cy="713937"/>
          </a:xfrm>
          <a:custGeom>
            <a:avLst/>
            <a:gdLst>
              <a:gd name="connsiteX0" fmla="*/ 2480610 w 2750636"/>
              <a:gd name="connsiteY0" fmla="*/ 713938 h 713937"/>
              <a:gd name="connsiteX1" fmla="*/ 2397171 w 2750636"/>
              <a:gd name="connsiteY1" fmla="*/ 700763 h 713937"/>
              <a:gd name="connsiteX2" fmla="*/ 1375199 w 2750636"/>
              <a:gd name="connsiteY2" fmla="*/ 539531 h 713937"/>
              <a:gd name="connsiteX3" fmla="*/ 353227 w 2750636"/>
              <a:gd name="connsiteY3" fmla="*/ 700136 h 713937"/>
              <a:gd name="connsiteX4" fmla="*/ 13197 w 2750636"/>
              <a:gd name="connsiteY4" fmla="*/ 526984 h 713937"/>
              <a:gd name="connsiteX5" fmla="*/ 186349 w 2750636"/>
              <a:gd name="connsiteY5" fmla="*/ 186954 h 713937"/>
              <a:gd name="connsiteX6" fmla="*/ 1375199 w 2750636"/>
              <a:gd name="connsiteY6" fmla="*/ 0 h 713937"/>
              <a:gd name="connsiteX7" fmla="*/ 2564049 w 2750636"/>
              <a:gd name="connsiteY7" fmla="*/ 187581 h 713937"/>
              <a:gd name="connsiteX8" fmla="*/ 2737201 w 2750636"/>
              <a:gd name="connsiteY8" fmla="*/ 527611 h 713937"/>
              <a:gd name="connsiteX9" fmla="*/ 2480610 w 2750636"/>
              <a:gd name="connsiteY9" fmla="*/ 713938 h 713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50636" h="713937">
                <a:moveTo>
                  <a:pt x="2480610" y="713938"/>
                </a:moveTo>
                <a:cubicBezTo>
                  <a:pt x="2453006" y="713938"/>
                  <a:pt x="2424775" y="709546"/>
                  <a:pt x="2397171" y="700763"/>
                </a:cubicBezTo>
                <a:cubicBezTo>
                  <a:pt x="2068434" y="593484"/>
                  <a:pt x="1724640" y="539531"/>
                  <a:pt x="1375199" y="539531"/>
                </a:cubicBezTo>
                <a:cubicBezTo>
                  <a:pt x="1025759" y="539531"/>
                  <a:pt x="681965" y="593484"/>
                  <a:pt x="353227" y="700136"/>
                </a:cubicBezTo>
                <a:cubicBezTo>
                  <a:pt x="211443" y="745933"/>
                  <a:pt x="59622" y="668767"/>
                  <a:pt x="13197" y="526984"/>
                </a:cubicBezTo>
                <a:cubicBezTo>
                  <a:pt x="-32600" y="385200"/>
                  <a:pt x="44565" y="233379"/>
                  <a:pt x="186349" y="186954"/>
                </a:cubicBezTo>
                <a:cubicBezTo>
                  <a:pt x="569040" y="62736"/>
                  <a:pt x="969296" y="0"/>
                  <a:pt x="1375199" y="0"/>
                </a:cubicBezTo>
                <a:cubicBezTo>
                  <a:pt x="1781102" y="0"/>
                  <a:pt x="2181359" y="62736"/>
                  <a:pt x="2564049" y="187581"/>
                </a:cubicBezTo>
                <a:cubicBezTo>
                  <a:pt x="2705833" y="233379"/>
                  <a:pt x="2783626" y="385827"/>
                  <a:pt x="2737201" y="527611"/>
                </a:cubicBezTo>
                <a:cubicBezTo>
                  <a:pt x="2700187" y="641164"/>
                  <a:pt x="2594163" y="713938"/>
                  <a:pt x="2480610" y="713938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Graphic 3">
            <a:extLst>
              <a:ext uri="{FF2B5EF4-FFF2-40B4-BE49-F238E27FC236}">
                <a16:creationId xmlns:a16="http://schemas.microsoft.com/office/drawing/2014/main" id="{2FB19151-BC62-4FBD-9373-E6F07895C595}"/>
              </a:ext>
            </a:extLst>
          </p:cNvPr>
          <p:cNvSpPr/>
          <p:nvPr userDrawn="1"/>
        </p:nvSpPr>
        <p:spPr>
          <a:xfrm>
            <a:off x="-2857310" y="265629"/>
            <a:ext cx="2014043" cy="3433135"/>
          </a:xfrm>
          <a:custGeom>
            <a:avLst/>
            <a:gdLst>
              <a:gd name="connsiteX0" fmla="*/ 269765 w 2014043"/>
              <a:gd name="connsiteY0" fmla="*/ 3433136 h 3433135"/>
              <a:gd name="connsiteX1" fmla="*/ 0 w 2014043"/>
              <a:gd name="connsiteY1" fmla="*/ 3163370 h 3433135"/>
              <a:gd name="connsiteX2" fmla="*/ 187581 w 2014043"/>
              <a:gd name="connsiteY2" fmla="*/ 1974520 h 3433135"/>
              <a:gd name="connsiteX3" fmla="*/ 734640 w 2014043"/>
              <a:gd name="connsiteY3" fmla="*/ 902359 h 3433135"/>
              <a:gd name="connsiteX4" fmla="*/ 1585343 w 2014043"/>
              <a:gd name="connsiteY4" fmla="*/ 51657 h 3433135"/>
              <a:gd name="connsiteX5" fmla="*/ 1962387 w 2014043"/>
              <a:gd name="connsiteY5" fmla="*/ 111256 h 3433135"/>
              <a:gd name="connsiteX6" fmla="*/ 1902788 w 2014043"/>
              <a:gd name="connsiteY6" fmla="*/ 488301 h 3433135"/>
              <a:gd name="connsiteX7" fmla="*/ 1171284 w 2014043"/>
              <a:gd name="connsiteY7" fmla="*/ 1219804 h 3433135"/>
              <a:gd name="connsiteX8" fmla="*/ 701390 w 2014043"/>
              <a:gd name="connsiteY8" fmla="*/ 2140771 h 3433135"/>
              <a:gd name="connsiteX9" fmla="*/ 539531 w 2014043"/>
              <a:gd name="connsiteY9" fmla="*/ 3163370 h 3433135"/>
              <a:gd name="connsiteX10" fmla="*/ 269765 w 2014043"/>
              <a:gd name="connsiteY10" fmla="*/ 3433136 h 3433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14043" h="3433135">
                <a:moveTo>
                  <a:pt x="269765" y="3433136"/>
                </a:moveTo>
                <a:cubicBezTo>
                  <a:pt x="121081" y="3433136"/>
                  <a:pt x="0" y="3312055"/>
                  <a:pt x="0" y="3163370"/>
                </a:cubicBezTo>
                <a:cubicBezTo>
                  <a:pt x="0" y="2757467"/>
                  <a:pt x="62736" y="2357211"/>
                  <a:pt x="187581" y="1974520"/>
                </a:cubicBezTo>
                <a:cubicBezTo>
                  <a:pt x="312426" y="1590575"/>
                  <a:pt x="496243" y="1229842"/>
                  <a:pt x="734640" y="902359"/>
                </a:cubicBezTo>
                <a:cubicBezTo>
                  <a:pt x="972410" y="575504"/>
                  <a:pt x="1258487" y="289427"/>
                  <a:pt x="1585343" y="51657"/>
                </a:cubicBezTo>
                <a:cubicBezTo>
                  <a:pt x="1705796" y="-36174"/>
                  <a:pt x="1874556" y="-9197"/>
                  <a:pt x="1962387" y="111256"/>
                </a:cubicBezTo>
                <a:cubicBezTo>
                  <a:pt x="2050218" y="231710"/>
                  <a:pt x="2023241" y="400470"/>
                  <a:pt x="1902788" y="488301"/>
                </a:cubicBezTo>
                <a:cubicBezTo>
                  <a:pt x="1621730" y="692821"/>
                  <a:pt x="1375804" y="938746"/>
                  <a:pt x="1171284" y="1219804"/>
                </a:cubicBezTo>
                <a:cubicBezTo>
                  <a:pt x="966137" y="1501490"/>
                  <a:pt x="808042" y="1811406"/>
                  <a:pt x="701390" y="2140771"/>
                </a:cubicBezTo>
                <a:cubicBezTo>
                  <a:pt x="593484" y="2470136"/>
                  <a:pt x="539531" y="2813930"/>
                  <a:pt x="539531" y="3163370"/>
                </a:cubicBezTo>
                <a:cubicBezTo>
                  <a:pt x="539531" y="3312055"/>
                  <a:pt x="418450" y="3433136"/>
                  <a:pt x="269765" y="3433136"/>
                </a:cubicBezTo>
                <a:close/>
              </a:path>
            </a:pathLst>
          </a:custGeom>
          <a:noFill/>
          <a:ln w="15875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Graphic 3">
            <a:extLst>
              <a:ext uri="{FF2B5EF4-FFF2-40B4-BE49-F238E27FC236}">
                <a16:creationId xmlns:a16="http://schemas.microsoft.com/office/drawing/2014/main" id="{AE0DC932-5BCC-4C52-A14E-64BD93F19962}"/>
              </a:ext>
            </a:extLst>
          </p:cNvPr>
          <p:cNvSpPr/>
          <p:nvPr userDrawn="1"/>
        </p:nvSpPr>
        <p:spPr>
          <a:xfrm>
            <a:off x="-2174954" y="5261309"/>
            <a:ext cx="2327985" cy="1839637"/>
          </a:xfrm>
          <a:custGeom>
            <a:avLst/>
            <a:gdLst>
              <a:gd name="connsiteX0" fmla="*/ 2057959 w 2327985"/>
              <a:gd name="connsiteY0" fmla="*/ 1839638 h 1839637"/>
              <a:gd name="connsiteX1" fmla="*/ 1974520 w 2327985"/>
              <a:gd name="connsiteY1" fmla="*/ 1826463 h 1839637"/>
              <a:gd name="connsiteX2" fmla="*/ 902359 w 2327985"/>
              <a:gd name="connsiteY2" fmla="*/ 1279404 h 1839637"/>
              <a:gd name="connsiteX3" fmla="*/ 51657 w 2327985"/>
              <a:gd name="connsiteY3" fmla="*/ 428702 h 1839637"/>
              <a:gd name="connsiteX4" fmla="*/ 111256 w 2327985"/>
              <a:gd name="connsiteY4" fmla="*/ 51657 h 1839637"/>
              <a:gd name="connsiteX5" fmla="*/ 488301 w 2327985"/>
              <a:gd name="connsiteY5" fmla="*/ 111256 h 1839637"/>
              <a:gd name="connsiteX6" fmla="*/ 1219804 w 2327985"/>
              <a:gd name="connsiteY6" fmla="*/ 842760 h 1839637"/>
              <a:gd name="connsiteX7" fmla="*/ 2141399 w 2327985"/>
              <a:gd name="connsiteY7" fmla="*/ 1312654 h 1839637"/>
              <a:gd name="connsiteX8" fmla="*/ 2314550 w 2327985"/>
              <a:gd name="connsiteY8" fmla="*/ 1652684 h 1839637"/>
              <a:gd name="connsiteX9" fmla="*/ 2057959 w 2327985"/>
              <a:gd name="connsiteY9" fmla="*/ 1839638 h 183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27985" h="1839637">
                <a:moveTo>
                  <a:pt x="2057959" y="1839638"/>
                </a:moveTo>
                <a:cubicBezTo>
                  <a:pt x="2030355" y="1839638"/>
                  <a:pt x="2002124" y="1835246"/>
                  <a:pt x="1974520" y="1826463"/>
                </a:cubicBezTo>
                <a:cubicBezTo>
                  <a:pt x="1590575" y="1701618"/>
                  <a:pt x="1229842" y="1517801"/>
                  <a:pt x="902359" y="1279404"/>
                </a:cubicBezTo>
                <a:cubicBezTo>
                  <a:pt x="575504" y="1041634"/>
                  <a:pt x="289427" y="755557"/>
                  <a:pt x="51657" y="428702"/>
                </a:cubicBezTo>
                <a:cubicBezTo>
                  <a:pt x="-36174" y="308248"/>
                  <a:pt x="-9197" y="139488"/>
                  <a:pt x="111256" y="51657"/>
                </a:cubicBezTo>
                <a:cubicBezTo>
                  <a:pt x="231710" y="-36174"/>
                  <a:pt x="400470" y="-9197"/>
                  <a:pt x="488301" y="111256"/>
                </a:cubicBezTo>
                <a:cubicBezTo>
                  <a:pt x="692821" y="392314"/>
                  <a:pt x="938746" y="638240"/>
                  <a:pt x="1219804" y="842760"/>
                </a:cubicBezTo>
                <a:cubicBezTo>
                  <a:pt x="1501490" y="1047907"/>
                  <a:pt x="1811406" y="1206003"/>
                  <a:pt x="2141399" y="1312654"/>
                </a:cubicBezTo>
                <a:cubicBezTo>
                  <a:pt x="2283182" y="1358451"/>
                  <a:pt x="2360975" y="1510900"/>
                  <a:pt x="2314550" y="1652684"/>
                </a:cubicBezTo>
                <a:cubicBezTo>
                  <a:pt x="2277536" y="1766863"/>
                  <a:pt x="2171512" y="1839638"/>
                  <a:pt x="2057959" y="1839638"/>
                </a:cubicBezTo>
                <a:close/>
              </a:path>
            </a:pathLst>
          </a:custGeom>
          <a:noFill/>
          <a:ln w="15875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Graphic 3">
            <a:extLst>
              <a:ext uri="{FF2B5EF4-FFF2-40B4-BE49-F238E27FC236}">
                <a16:creationId xmlns:a16="http://schemas.microsoft.com/office/drawing/2014/main" id="{915E6235-AD5E-4E83-82D6-8195551C4B25}"/>
              </a:ext>
            </a:extLst>
          </p:cNvPr>
          <p:cNvSpPr/>
          <p:nvPr userDrawn="1"/>
        </p:nvSpPr>
        <p:spPr>
          <a:xfrm>
            <a:off x="3611473" y="3159234"/>
            <a:ext cx="1221414" cy="2641819"/>
          </a:xfrm>
          <a:custGeom>
            <a:avLst/>
            <a:gdLst>
              <a:gd name="connsiteX0" fmla="*/ 269707 w 1221414"/>
              <a:gd name="connsiteY0" fmla="*/ 2641820 h 2641819"/>
              <a:gd name="connsiteX1" fmla="*/ 110985 w 1221414"/>
              <a:gd name="connsiteY1" fmla="*/ 2590376 h 2641819"/>
              <a:gd name="connsiteX2" fmla="*/ 51386 w 1221414"/>
              <a:gd name="connsiteY2" fmla="*/ 2213332 h 2641819"/>
              <a:gd name="connsiteX3" fmla="*/ 521279 w 1221414"/>
              <a:gd name="connsiteY3" fmla="*/ 1291738 h 2641819"/>
              <a:gd name="connsiteX4" fmla="*/ 681884 w 1221414"/>
              <a:gd name="connsiteY4" fmla="*/ 269765 h 2641819"/>
              <a:gd name="connsiteX5" fmla="*/ 951649 w 1221414"/>
              <a:gd name="connsiteY5" fmla="*/ 0 h 2641819"/>
              <a:gd name="connsiteX6" fmla="*/ 1221415 w 1221414"/>
              <a:gd name="connsiteY6" fmla="*/ 269765 h 2641819"/>
              <a:gd name="connsiteX7" fmla="*/ 1033834 w 1221414"/>
              <a:gd name="connsiteY7" fmla="*/ 1458616 h 2641819"/>
              <a:gd name="connsiteX8" fmla="*/ 486774 w 1221414"/>
              <a:gd name="connsiteY8" fmla="*/ 2530777 h 2641819"/>
              <a:gd name="connsiteX9" fmla="*/ 269707 w 1221414"/>
              <a:gd name="connsiteY9" fmla="*/ 2641820 h 2641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1414" h="2641819">
                <a:moveTo>
                  <a:pt x="269707" y="2641820"/>
                </a:moveTo>
                <a:cubicBezTo>
                  <a:pt x="214500" y="2641820"/>
                  <a:pt x="159291" y="2624881"/>
                  <a:pt x="110985" y="2590376"/>
                </a:cubicBezTo>
                <a:cubicBezTo>
                  <a:pt x="-9469" y="2502546"/>
                  <a:pt x="-35818" y="2333785"/>
                  <a:pt x="51386" y="2213332"/>
                </a:cubicBezTo>
                <a:cubicBezTo>
                  <a:pt x="256533" y="1931646"/>
                  <a:pt x="414627" y="1621730"/>
                  <a:pt x="521279" y="1291738"/>
                </a:cubicBezTo>
                <a:cubicBezTo>
                  <a:pt x="627930" y="963000"/>
                  <a:pt x="681884" y="619206"/>
                  <a:pt x="681884" y="269765"/>
                </a:cubicBezTo>
                <a:cubicBezTo>
                  <a:pt x="681884" y="121081"/>
                  <a:pt x="802964" y="0"/>
                  <a:pt x="951649" y="0"/>
                </a:cubicBezTo>
                <a:cubicBezTo>
                  <a:pt x="1100334" y="0"/>
                  <a:pt x="1221415" y="121081"/>
                  <a:pt x="1221415" y="269765"/>
                </a:cubicBezTo>
                <a:cubicBezTo>
                  <a:pt x="1221415" y="675669"/>
                  <a:pt x="1158679" y="1075925"/>
                  <a:pt x="1033834" y="1458616"/>
                </a:cubicBezTo>
                <a:cubicBezTo>
                  <a:pt x="908989" y="1842561"/>
                  <a:pt x="725171" y="2203294"/>
                  <a:pt x="486774" y="2530777"/>
                </a:cubicBezTo>
                <a:cubicBezTo>
                  <a:pt x="435331" y="2602923"/>
                  <a:pt x="353146" y="2641820"/>
                  <a:pt x="269707" y="2641820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Graphic 3">
            <a:extLst>
              <a:ext uri="{FF2B5EF4-FFF2-40B4-BE49-F238E27FC236}">
                <a16:creationId xmlns:a16="http://schemas.microsoft.com/office/drawing/2014/main" id="{B7D06348-7A1A-4F2B-BAC6-366C6D66A0C4}"/>
              </a:ext>
            </a:extLst>
          </p:cNvPr>
          <p:cNvSpPr/>
          <p:nvPr userDrawn="1"/>
        </p:nvSpPr>
        <p:spPr>
          <a:xfrm>
            <a:off x="1470857" y="801609"/>
            <a:ext cx="539530" cy="539530"/>
          </a:xfrm>
          <a:custGeom>
            <a:avLst/>
            <a:gdLst>
              <a:gd name="connsiteX0" fmla="*/ 539531 w 539530"/>
              <a:gd name="connsiteY0" fmla="*/ 269765 h 539530"/>
              <a:gd name="connsiteX1" fmla="*/ 269766 w 539530"/>
              <a:gd name="connsiteY1" fmla="*/ 539531 h 539530"/>
              <a:gd name="connsiteX2" fmla="*/ 0 w 539530"/>
              <a:gd name="connsiteY2" fmla="*/ 269766 h 539530"/>
              <a:gd name="connsiteX3" fmla="*/ 269766 w 539530"/>
              <a:gd name="connsiteY3" fmla="*/ 0 h 539530"/>
              <a:gd name="connsiteX4" fmla="*/ 539531 w 539530"/>
              <a:gd name="connsiteY4" fmla="*/ 269765 h 53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9530" h="539530">
                <a:moveTo>
                  <a:pt x="539531" y="269765"/>
                </a:moveTo>
                <a:cubicBezTo>
                  <a:pt x="539531" y="418753"/>
                  <a:pt x="418753" y="539531"/>
                  <a:pt x="269766" y="539531"/>
                </a:cubicBezTo>
                <a:cubicBezTo>
                  <a:pt x="120778" y="539531"/>
                  <a:pt x="0" y="418753"/>
                  <a:pt x="0" y="269766"/>
                </a:cubicBezTo>
                <a:cubicBezTo>
                  <a:pt x="0" y="120778"/>
                  <a:pt x="120778" y="0"/>
                  <a:pt x="269766" y="0"/>
                </a:cubicBezTo>
                <a:cubicBezTo>
                  <a:pt x="418753" y="0"/>
                  <a:pt x="539531" y="120778"/>
                  <a:pt x="539531" y="269765"/>
                </a:cubicBezTo>
                <a:close/>
              </a:path>
            </a:pathLst>
          </a:custGeom>
          <a:noFill/>
          <a:ln w="15875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Graphic 3">
            <a:extLst>
              <a:ext uri="{FF2B5EF4-FFF2-40B4-BE49-F238E27FC236}">
                <a16:creationId xmlns:a16="http://schemas.microsoft.com/office/drawing/2014/main" id="{9747767E-90B3-417B-9AF5-31D01C6D37C2}"/>
              </a:ext>
            </a:extLst>
          </p:cNvPr>
          <p:cNvSpPr/>
          <p:nvPr userDrawn="1"/>
        </p:nvSpPr>
        <p:spPr>
          <a:xfrm>
            <a:off x="-1643994" y="3927125"/>
            <a:ext cx="539530" cy="539530"/>
          </a:xfrm>
          <a:custGeom>
            <a:avLst/>
            <a:gdLst>
              <a:gd name="connsiteX0" fmla="*/ 539531 w 539530"/>
              <a:gd name="connsiteY0" fmla="*/ 269766 h 539530"/>
              <a:gd name="connsiteX1" fmla="*/ 269765 w 539530"/>
              <a:gd name="connsiteY1" fmla="*/ 539531 h 539530"/>
              <a:gd name="connsiteX2" fmla="*/ 0 w 539530"/>
              <a:gd name="connsiteY2" fmla="*/ 269766 h 539530"/>
              <a:gd name="connsiteX3" fmla="*/ 269765 w 539530"/>
              <a:gd name="connsiteY3" fmla="*/ 0 h 539530"/>
              <a:gd name="connsiteX4" fmla="*/ 539531 w 539530"/>
              <a:gd name="connsiteY4" fmla="*/ 269766 h 53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9530" h="539530">
                <a:moveTo>
                  <a:pt x="539531" y="269766"/>
                </a:moveTo>
                <a:cubicBezTo>
                  <a:pt x="539531" y="418753"/>
                  <a:pt x="418753" y="539531"/>
                  <a:pt x="269765" y="539531"/>
                </a:cubicBezTo>
                <a:cubicBezTo>
                  <a:pt x="120778" y="539531"/>
                  <a:pt x="0" y="418753"/>
                  <a:pt x="0" y="269766"/>
                </a:cubicBezTo>
                <a:cubicBezTo>
                  <a:pt x="0" y="120778"/>
                  <a:pt x="120778" y="0"/>
                  <a:pt x="269765" y="0"/>
                </a:cubicBezTo>
                <a:cubicBezTo>
                  <a:pt x="418753" y="0"/>
                  <a:pt x="539531" y="120778"/>
                  <a:pt x="539531" y="269766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0B262858-182C-416F-9289-6A426F94CAF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284248" y="270064"/>
            <a:ext cx="5923980" cy="6998036"/>
          </a:xfrm>
          <a:custGeom>
            <a:avLst/>
            <a:gdLst>
              <a:gd name="connsiteX0" fmla="*/ 4367539 w 5923980"/>
              <a:gd name="connsiteY0" fmla="*/ 5778477 h 6998036"/>
              <a:gd name="connsiteX1" fmla="*/ 4595189 w 5923980"/>
              <a:gd name="connsiteY1" fmla="*/ 5889145 h 6998036"/>
              <a:gd name="connsiteX2" fmla="*/ 4535674 w 5923980"/>
              <a:gd name="connsiteY2" fmla="*/ 6265661 h 6998036"/>
              <a:gd name="connsiteX3" fmla="*/ 3465015 w 5923980"/>
              <a:gd name="connsiteY3" fmla="*/ 6811953 h 6998036"/>
              <a:gd name="connsiteX4" fmla="*/ 2278458 w 5923980"/>
              <a:gd name="connsiteY4" fmla="*/ 6998018 h 6998036"/>
              <a:gd name="connsiteX5" fmla="*/ 2009071 w 5923980"/>
              <a:gd name="connsiteY5" fmla="*/ 6728631 h 6998036"/>
              <a:gd name="connsiteX6" fmla="*/ 2278458 w 5923980"/>
              <a:gd name="connsiteY6" fmla="*/ 6459244 h 6998036"/>
              <a:gd name="connsiteX7" fmla="*/ 3298998 w 5923980"/>
              <a:gd name="connsiteY7" fmla="*/ 6298864 h 6998036"/>
              <a:gd name="connsiteX8" fmla="*/ 4218673 w 5923980"/>
              <a:gd name="connsiteY8" fmla="*/ 5829629 h 6998036"/>
              <a:gd name="connsiteX9" fmla="*/ 4367539 w 5923980"/>
              <a:gd name="connsiteY9" fmla="*/ 5778477 h 6998036"/>
              <a:gd name="connsiteX10" fmla="*/ 3726923 w 5923980"/>
              <a:gd name="connsiteY10" fmla="*/ 4896115 h 6998036"/>
              <a:gd name="connsiteX11" fmla="*/ 3954298 w 5923980"/>
              <a:gd name="connsiteY11" fmla="*/ 5007058 h 6998036"/>
              <a:gd name="connsiteX12" fmla="*/ 3894782 w 5923980"/>
              <a:gd name="connsiteY12" fmla="*/ 5383574 h 6998036"/>
              <a:gd name="connsiteX13" fmla="*/ 3518266 w 5923980"/>
              <a:gd name="connsiteY13" fmla="*/ 5324058 h 6998036"/>
              <a:gd name="connsiteX14" fmla="*/ 3577782 w 5923980"/>
              <a:gd name="connsiteY14" fmla="*/ 4947542 h 6998036"/>
              <a:gd name="connsiteX15" fmla="*/ 3726923 w 5923980"/>
              <a:gd name="connsiteY15" fmla="*/ 4896115 h 6998036"/>
              <a:gd name="connsiteX16" fmla="*/ 259696 w 5923980"/>
              <a:gd name="connsiteY16" fmla="*/ 4349471 h 6998036"/>
              <a:gd name="connsiteX17" fmla="*/ 487346 w 5923980"/>
              <a:gd name="connsiteY17" fmla="*/ 4460139 h 6998036"/>
              <a:gd name="connsiteX18" fmla="*/ 977255 w 5923980"/>
              <a:gd name="connsiteY18" fmla="*/ 4950048 h 6998036"/>
              <a:gd name="connsiteX19" fmla="*/ 1593713 w 5923980"/>
              <a:gd name="connsiteY19" fmla="*/ 5264542 h 6998036"/>
              <a:gd name="connsiteX20" fmla="*/ 2277832 w 5923980"/>
              <a:gd name="connsiteY20" fmla="*/ 5372297 h 6998036"/>
              <a:gd name="connsiteX21" fmla="*/ 2961950 w 5923980"/>
              <a:gd name="connsiteY21" fmla="*/ 5264542 h 6998036"/>
              <a:gd name="connsiteX22" fmla="*/ 3301504 w 5923980"/>
              <a:gd name="connsiteY22" fmla="*/ 5437451 h 6998036"/>
              <a:gd name="connsiteX23" fmla="*/ 3128594 w 5923980"/>
              <a:gd name="connsiteY23" fmla="*/ 5777005 h 6998036"/>
              <a:gd name="connsiteX24" fmla="*/ 2277832 w 5923980"/>
              <a:gd name="connsiteY24" fmla="*/ 5911072 h 6998036"/>
              <a:gd name="connsiteX25" fmla="*/ 1427069 w 5923980"/>
              <a:gd name="connsiteY25" fmla="*/ 5777005 h 6998036"/>
              <a:gd name="connsiteX26" fmla="*/ 659629 w 5923980"/>
              <a:gd name="connsiteY26" fmla="*/ 5385453 h 6998036"/>
              <a:gd name="connsiteX27" fmla="*/ 51314 w 5923980"/>
              <a:gd name="connsiteY27" fmla="*/ 4777139 h 6998036"/>
              <a:gd name="connsiteX28" fmla="*/ 110830 w 5923980"/>
              <a:gd name="connsiteY28" fmla="*/ 4400624 h 6998036"/>
              <a:gd name="connsiteX29" fmla="*/ 259696 w 5923980"/>
              <a:gd name="connsiteY29" fmla="*/ 4349471 h 6998036"/>
              <a:gd name="connsiteX30" fmla="*/ 5677604 w 5923980"/>
              <a:gd name="connsiteY30" fmla="*/ 1783524 h 6998036"/>
              <a:gd name="connsiteX31" fmla="*/ 5910802 w 5923980"/>
              <a:gd name="connsiteY31" fmla="*/ 1968620 h 6998036"/>
              <a:gd name="connsiteX32" fmla="*/ 5737893 w 5923980"/>
              <a:gd name="connsiteY32" fmla="*/ 2308173 h 6998036"/>
              <a:gd name="connsiteX33" fmla="*/ 5398339 w 5923980"/>
              <a:gd name="connsiteY33" fmla="*/ 2135264 h 6998036"/>
              <a:gd name="connsiteX34" fmla="*/ 5571248 w 5923980"/>
              <a:gd name="connsiteY34" fmla="*/ 1795711 h 6998036"/>
              <a:gd name="connsiteX35" fmla="*/ 5677604 w 5923980"/>
              <a:gd name="connsiteY35" fmla="*/ 1783524 h 6998036"/>
              <a:gd name="connsiteX36" fmla="*/ 2277832 w 5923980"/>
              <a:gd name="connsiteY36" fmla="*/ 1492493 h 6998036"/>
              <a:gd name="connsiteX37" fmla="*/ 3944274 w 5923980"/>
              <a:gd name="connsiteY37" fmla="*/ 3158936 h 6998036"/>
              <a:gd name="connsiteX38" fmla="*/ 2277832 w 5923980"/>
              <a:gd name="connsiteY38" fmla="*/ 4825378 h 6998036"/>
              <a:gd name="connsiteX39" fmla="*/ 611389 w 5923980"/>
              <a:gd name="connsiteY39" fmla="*/ 3158936 h 6998036"/>
              <a:gd name="connsiteX40" fmla="*/ 2277832 w 5923980"/>
              <a:gd name="connsiteY40" fmla="*/ 1492493 h 6998036"/>
              <a:gd name="connsiteX41" fmla="*/ 2277832 w 5923980"/>
              <a:gd name="connsiteY41" fmla="*/ 406800 h 6998036"/>
              <a:gd name="connsiteX42" fmla="*/ 2547219 w 5923980"/>
              <a:gd name="connsiteY42" fmla="*/ 676187 h 6998036"/>
              <a:gd name="connsiteX43" fmla="*/ 2277832 w 5923980"/>
              <a:gd name="connsiteY43" fmla="*/ 945575 h 6998036"/>
              <a:gd name="connsiteX44" fmla="*/ 1593713 w 5923980"/>
              <a:gd name="connsiteY44" fmla="*/ 1053329 h 6998036"/>
              <a:gd name="connsiteX45" fmla="*/ 977255 w 5923980"/>
              <a:gd name="connsiteY45" fmla="*/ 1367824 h 6998036"/>
              <a:gd name="connsiteX46" fmla="*/ 818128 w 5923980"/>
              <a:gd name="connsiteY46" fmla="*/ 1419821 h 6998036"/>
              <a:gd name="connsiteX47" fmla="*/ 600113 w 5923980"/>
              <a:gd name="connsiteY47" fmla="*/ 1308934 h 6998036"/>
              <a:gd name="connsiteX48" fmla="*/ 659629 w 5923980"/>
              <a:gd name="connsiteY48" fmla="*/ 932418 h 6998036"/>
              <a:gd name="connsiteX49" fmla="*/ 1427069 w 5923980"/>
              <a:gd name="connsiteY49" fmla="*/ 540867 h 6998036"/>
              <a:gd name="connsiteX50" fmla="*/ 2277832 w 5923980"/>
              <a:gd name="connsiteY50" fmla="*/ 406800 h 6998036"/>
              <a:gd name="connsiteX51" fmla="*/ 4386808 w 5923980"/>
              <a:gd name="connsiteY51" fmla="*/ 157 h 6998036"/>
              <a:gd name="connsiteX52" fmla="*/ 4535674 w 5923980"/>
              <a:gd name="connsiteY52" fmla="*/ 51585 h 6998036"/>
              <a:gd name="connsiteX53" fmla="*/ 5385183 w 5923980"/>
              <a:gd name="connsiteY53" fmla="*/ 901094 h 6998036"/>
              <a:gd name="connsiteX54" fmla="*/ 5325667 w 5923980"/>
              <a:gd name="connsiteY54" fmla="*/ 1277610 h 6998036"/>
              <a:gd name="connsiteX55" fmla="*/ 5167167 w 5923980"/>
              <a:gd name="connsiteY55" fmla="*/ 1328982 h 6998036"/>
              <a:gd name="connsiteX56" fmla="*/ 4949152 w 5923980"/>
              <a:gd name="connsiteY56" fmla="*/ 1218094 h 6998036"/>
              <a:gd name="connsiteX57" fmla="*/ 4218673 w 5923980"/>
              <a:gd name="connsiteY57" fmla="*/ 487616 h 6998036"/>
              <a:gd name="connsiteX58" fmla="*/ 4159157 w 5923980"/>
              <a:gd name="connsiteY58" fmla="*/ 111100 h 6998036"/>
              <a:gd name="connsiteX59" fmla="*/ 4386808 w 5923980"/>
              <a:gd name="connsiteY59" fmla="*/ 157 h 699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923980" h="6998036">
                <a:moveTo>
                  <a:pt x="4367539" y="5778477"/>
                </a:moveTo>
                <a:cubicBezTo>
                  <a:pt x="4453986" y="5775497"/>
                  <a:pt x="4540372" y="5813967"/>
                  <a:pt x="4595189" y="5889145"/>
                </a:cubicBezTo>
                <a:cubicBezTo>
                  <a:pt x="4682270" y="6009429"/>
                  <a:pt x="4655958" y="6177953"/>
                  <a:pt x="4535674" y="6265661"/>
                </a:cubicBezTo>
                <a:cubicBezTo>
                  <a:pt x="4208650" y="6503724"/>
                  <a:pt x="3848422" y="6687283"/>
                  <a:pt x="3465015" y="6811953"/>
                </a:cubicBezTo>
                <a:cubicBezTo>
                  <a:pt x="3082861" y="6936623"/>
                  <a:pt x="2683166" y="6999271"/>
                  <a:pt x="2278458" y="6998018"/>
                </a:cubicBezTo>
                <a:cubicBezTo>
                  <a:pt x="2129982" y="6998018"/>
                  <a:pt x="2009071" y="6877107"/>
                  <a:pt x="2009071" y="6728631"/>
                </a:cubicBezTo>
                <a:cubicBezTo>
                  <a:pt x="2009071" y="6580154"/>
                  <a:pt x="2129982" y="6459244"/>
                  <a:pt x="2278458" y="6459244"/>
                </a:cubicBezTo>
                <a:cubicBezTo>
                  <a:pt x="2627409" y="6459244"/>
                  <a:pt x="2970721" y="6405366"/>
                  <a:pt x="3298998" y="6298864"/>
                </a:cubicBezTo>
                <a:cubicBezTo>
                  <a:pt x="3627901" y="6192362"/>
                  <a:pt x="3937383" y="6034489"/>
                  <a:pt x="4218673" y="5829629"/>
                </a:cubicBezTo>
                <a:cubicBezTo>
                  <a:pt x="4263780" y="5796974"/>
                  <a:pt x="4315671" y="5780264"/>
                  <a:pt x="4367539" y="5778477"/>
                </a:cubicBezTo>
                <a:close/>
                <a:moveTo>
                  <a:pt x="3726923" y="4896115"/>
                </a:moveTo>
                <a:cubicBezTo>
                  <a:pt x="3813339" y="4893166"/>
                  <a:pt x="3899481" y="4931880"/>
                  <a:pt x="3954298" y="5007058"/>
                </a:cubicBezTo>
                <a:cubicBezTo>
                  <a:pt x="4042005" y="5127969"/>
                  <a:pt x="4015067" y="5295866"/>
                  <a:pt x="3894782" y="5383574"/>
                </a:cubicBezTo>
                <a:cubicBezTo>
                  <a:pt x="3773871" y="5471281"/>
                  <a:pt x="3605974" y="5444343"/>
                  <a:pt x="3518266" y="5324058"/>
                </a:cubicBezTo>
                <a:cubicBezTo>
                  <a:pt x="3430559" y="5203774"/>
                  <a:pt x="3457498" y="5035250"/>
                  <a:pt x="3577782" y="4947542"/>
                </a:cubicBezTo>
                <a:cubicBezTo>
                  <a:pt x="3623124" y="4914652"/>
                  <a:pt x="3675073" y="4897884"/>
                  <a:pt x="3726923" y="4896115"/>
                </a:cubicBezTo>
                <a:close/>
                <a:moveTo>
                  <a:pt x="259696" y="4349471"/>
                </a:moveTo>
                <a:cubicBezTo>
                  <a:pt x="346143" y="4346492"/>
                  <a:pt x="432529" y="4384962"/>
                  <a:pt x="487346" y="4460139"/>
                </a:cubicBezTo>
                <a:cubicBezTo>
                  <a:pt x="623919" y="4648084"/>
                  <a:pt x="789310" y="4812849"/>
                  <a:pt x="977255" y="4950048"/>
                </a:cubicBezTo>
                <a:cubicBezTo>
                  <a:pt x="1165826" y="5087248"/>
                  <a:pt x="1373192" y="5193123"/>
                  <a:pt x="1593713" y="5264542"/>
                </a:cubicBezTo>
                <a:cubicBezTo>
                  <a:pt x="1813609" y="5335961"/>
                  <a:pt x="2044154" y="5372297"/>
                  <a:pt x="2277832" y="5372297"/>
                </a:cubicBezTo>
                <a:cubicBezTo>
                  <a:pt x="2511510" y="5372297"/>
                  <a:pt x="2742055" y="5335961"/>
                  <a:pt x="2961950" y="5264542"/>
                </a:cubicBezTo>
                <a:cubicBezTo>
                  <a:pt x="3103535" y="5218183"/>
                  <a:pt x="3255770" y="5295866"/>
                  <a:pt x="3301504" y="5437451"/>
                </a:cubicBezTo>
                <a:cubicBezTo>
                  <a:pt x="3347863" y="5579036"/>
                  <a:pt x="3270180" y="5731271"/>
                  <a:pt x="3128594" y="5777005"/>
                </a:cubicBezTo>
                <a:cubicBezTo>
                  <a:pt x="2854195" y="5865965"/>
                  <a:pt x="2568520" y="5911072"/>
                  <a:pt x="2277832" y="5911072"/>
                </a:cubicBezTo>
                <a:cubicBezTo>
                  <a:pt x="1987144" y="5911072"/>
                  <a:pt x="1700842" y="5865965"/>
                  <a:pt x="1427069" y="5777005"/>
                </a:cubicBezTo>
                <a:cubicBezTo>
                  <a:pt x="1152043" y="5688044"/>
                  <a:pt x="893933" y="5555856"/>
                  <a:pt x="659629" y="5385453"/>
                </a:cubicBezTo>
                <a:cubicBezTo>
                  <a:pt x="425951" y="5215677"/>
                  <a:pt x="221717" y="5010817"/>
                  <a:pt x="51314" y="4777139"/>
                </a:cubicBezTo>
                <a:cubicBezTo>
                  <a:pt x="-35767" y="4656854"/>
                  <a:pt x="-9454" y="4488331"/>
                  <a:pt x="110830" y="4400624"/>
                </a:cubicBezTo>
                <a:cubicBezTo>
                  <a:pt x="155937" y="4367968"/>
                  <a:pt x="207827" y="4351259"/>
                  <a:pt x="259696" y="4349471"/>
                </a:cubicBezTo>
                <a:close/>
                <a:moveTo>
                  <a:pt x="5677604" y="1783524"/>
                </a:moveTo>
                <a:cubicBezTo>
                  <a:pt x="5782295" y="1792540"/>
                  <a:pt x="5876502" y="1862432"/>
                  <a:pt x="5910802" y="1968620"/>
                </a:cubicBezTo>
                <a:cubicBezTo>
                  <a:pt x="5956534" y="2110205"/>
                  <a:pt x="5879478" y="2262440"/>
                  <a:pt x="5737893" y="2308173"/>
                </a:cubicBezTo>
                <a:cubicBezTo>
                  <a:pt x="5596307" y="2354533"/>
                  <a:pt x="5444699" y="2276849"/>
                  <a:pt x="5398339" y="2135264"/>
                </a:cubicBezTo>
                <a:cubicBezTo>
                  <a:pt x="5352606" y="1993679"/>
                  <a:pt x="5429663" y="1841444"/>
                  <a:pt x="5571248" y="1795711"/>
                </a:cubicBezTo>
                <a:cubicBezTo>
                  <a:pt x="5606645" y="1784278"/>
                  <a:pt x="5642707" y="1780519"/>
                  <a:pt x="5677604" y="1783524"/>
                </a:cubicBezTo>
                <a:close/>
                <a:moveTo>
                  <a:pt x="2277832" y="1492493"/>
                </a:moveTo>
                <a:cubicBezTo>
                  <a:pt x="3198134" y="1492493"/>
                  <a:pt x="3944274" y="2238634"/>
                  <a:pt x="3944274" y="3158936"/>
                </a:cubicBezTo>
                <a:cubicBezTo>
                  <a:pt x="3944274" y="4079238"/>
                  <a:pt x="3198134" y="4825378"/>
                  <a:pt x="2277832" y="4825378"/>
                </a:cubicBezTo>
                <a:cubicBezTo>
                  <a:pt x="1357530" y="4825378"/>
                  <a:pt x="611389" y="4079238"/>
                  <a:pt x="611389" y="3158936"/>
                </a:cubicBezTo>
                <a:cubicBezTo>
                  <a:pt x="611389" y="2238634"/>
                  <a:pt x="1357530" y="1492493"/>
                  <a:pt x="2277832" y="1492493"/>
                </a:cubicBezTo>
                <a:close/>
                <a:moveTo>
                  <a:pt x="2277832" y="406800"/>
                </a:moveTo>
                <a:cubicBezTo>
                  <a:pt x="2426308" y="406800"/>
                  <a:pt x="2547219" y="527711"/>
                  <a:pt x="2547219" y="676187"/>
                </a:cubicBezTo>
                <a:cubicBezTo>
                  <a:pt x="2547219" y="824663"/>
                  <a:pt x="2426308" y="945575"/>
                  <a:pt x="2277832" y="945575"/>
                </a:cubicBezTo>
                <a:cubicBezTo>
                  <a:pt x="2044154" y="945575"/>
                  <a:pt x="1813609" y="981911"/>
                  <a:pt x="1593713" y="1053329"/>
                </a:cubicBezTo>
                <a:cubicBezTo>
                  <a:pt x="1373192" y="1124748"/>
                  <a:pt x="1165826" y="1230624"/>
                  <a:pt x="977255" y="1367824"/>
                </a:cubicBezTo>
                <a:cubicBezTo>
                  <a:pt x="929016" y="1402907"/>
                  <a:pt x="873885" y="1419821"/>
                  <a:pt x="818128" y="1419821"/>
                </a:cubicBezTo>
                <a:cubicBezTo>
                  <a:pt x="734806" y="1419821"/>
                  <a:pt x="652737" y="1381606"/>
                  <a:pt x="600113" y="1308934"/>
                </a:cubicBezTo>
                <a:cubicBezTo>
                  <a:pt x="513032" y="1188650"/>
                  <a:pt x="539344" y="1020126"/>
                  <a:pt x="659629" y="932418"/>
                </a:cubicBezTo>
                <a:cubicBezTo>
                  <a:pt x="893933" y="762015"/>
                  <a:pt x="1152043" y="629828"/>
                  <a:pt x="1427069" y="540867"/>
                </a:cubicBezTo>
                <a:cubicBezTo>
                  <a:pt x="1701468" y="451907"/>
                  <a:pt x="1987144" y="406800"/>
                  <a:pt x="2277832" y="406800"/>
                </a:cubicBezTo>
                <a:close/>
                <a:moveTo>
                  <a:pt x="4386808" y="157"/>
                </a:moveTo>
                <a:cubicBezTo>
                  <a:pt x="4438677" y="1926"/>
                  <a:pt x="4490567" y="18695"/>
                  <a:pt x="4535674" y="51585"/>
                </a:cubicBezTo>
                <a:cubicBezTo>
                  <a:pt x="4862071" y="289021"/>
                  <a:pt x="5147746" y="574697"/>
                  <a:pt x="5385183" y="901094"/>
                </a:cubicBezTo>
                <a:cubicBezTo>
                  <a:pt x="5472264" y="1021379"/>
                  <a:pt x="5445952" y="1189903"/>
                  <a:pt x="5325667" y="1277610"/>
                </a:cubicBezTo>
                <a:cubicBezTo>
                  <a:pt x="5277428" y="1312693"/>
                  <a:pt x="5222298" y="1328982"/>
                  <a:pt x="5167167" y="1328982"/>
                </a:cubicBezTo>
                <a:cubicBezTo>
                  <a:pt x="5083845" y="1328982"/>
                  <a:pt x="5001776" y="1290766"/>
                  <a:pt x="4949152" y="1218094"/>
                </a:cubicBezTo>
                <a:cubicBezTo>
                  <a:pt x="4744918" y="937430"/>
                  <a:pt x="4499337" y="691849"/>
                  <a:pt x="4218673" y="487616"/>
                </a:cubicBezTo>
                <a:cubicBezTo>
                  <a:pt x="4098389" y="399909"/>
                  <a:pt x="4071450" y="231385"/>
                  <a:pt x="4159157" y="111100"/>
                </a:cubicBezTo>
                <a:cubicBezTo>
                  <a:pt x="4213975" y="35923"/>
                  <a:pt x="4300361" y="-2792"/>
                  <a:pt x="4386808" y="15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b="1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37FFBC-60D0-466B-97A6-EAB5B7AA4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4528" y="1801627"/>
            <a:ext cx="4680000" cy="3254746"/>
          </a:xfrm>
        </p:spPr>
        <p:txBody>
          <a:bodyPr anchor="ctr">
            <a:norm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61145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- Color -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raphic 3">
            <a:extLst>
              <a:ext uri="{FF2B5EF4-FFF2-40B4-BE49-F238E27FC236}">
                <a16:creationId xmlns:a16="http://schemas.microsoft.com/office/drawing/2014/main" id="{1B7DD8D3-66FB-43C3-9A2B-E59E25B3DE6C}"/>
              </a:ext>
            </a:extLst>
          </p:cNvPr>
          <p:cNvSpPr/>
          <p:nvPr userDrawn="1"/>
        </p:nvSpPr>
        <p:spPr>
          <a:xfrm>
            <a:off x="-1767585" y="1697540"/>
            <a:ext cx="1014385" cy="2001225"/>
          </a:xfrm>
          <a:custGeom>
            <a:avLst/>
            <a:gdLst>
              <a:gd name="connsiteX0" fmla="*/ 269765 w 1014385"/>
              <a:gd name="connsiteY0" fmla="*/ 2001225 h 2001225"/>
              <a:gd name="connsiteX1" fmla="*/ 0 w 1014385"/>
              <a:gd name="connsiteY1" fmla="*/ 1731460 h 2001225"/>
              <a:gd name="connsiteX2" fmla="*/ 134255 w 1014385"/>
              <a:gd name="connsiteY2" fmla="*/ 879503 h 2001225"/>
              <a:gd name="connsiteX3" fmla="*/ 526356 w 1014385"/>
              <a:gd name="connsiteY3" fmla="*/ 110985 h 2001225"/>
              <a:gd name="connsiteX4" fmla="*/ 903401 w 1014385"/>
              <a:gd name="connsiteY4" fmla="*/ 51385 h 2001225"/>
              <a:gd name="connsiteX5" fmla="*/ 963000 w 1014385"/>
              <a:gd name="connsiteY5" fmla="*/ 428430 h 2001225"/>
              <a:gd name="connsiteX6" fmla="*/ 648065 w 1014385"/>
              <a:gd name="connsiteY6" fmla="*/ 1045754 h 2001225"/>
              <a:gd name="connsiteX7" fmla="*/ 540158 w 1014385"/>
              <a:gd name="connsiteY7" fmla="*/ 1730833 h 2001225"/>
              <a:gd name="connsiteX8" fmla="*/ 269765 w 1014385"/>
              <a:gd name="connsiteY8" fmla="*/ 2001225 h 2001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14385" h="2001225">
                <a:moveTo>
                  <a:pt x="269765" y="2001225"/>
                </a:moveTo>
                <a:cubicBezTo>
                  <a:pt x="121081" y="2001225"/>
                  <a:pt x="0" y="1880144"/>
                  <a:pt x="0" y="1731460"/>
                </a:cubicBezTo>
                <a:cubicBezTo>
                  <a:pt x="0" y="1440364"/>
                  <a:pt x="45170" y="1154287"/>
                  <a:pt x="134255" y="879503"/>
                </a:cubicBezTo>
                <a:cubicBezTo>
                  <a:pt x="223341" y="604091"/>
                  <a:pt x="355714" y="345618"/>
                  <a:pt x="526356" y="110985"/>
                </a:cubicBezTo>
                <a:cubicBezTo>
                  <a:pt x="614187" y="-9469"/>
                  <a:pt x="782947" y="-35818"/>
                  <a:pt x="903401" y="51385"/>
                </a:cubicBezTo>
                <a:cubicBezTo>
                  <a:pt x="1023854" y="139216"/>
                  <a:pt x="1050203" y="307976"/>
                  <a:pt x="963000" y="428430"/>
                </a:cubicBezTo>
                <a:cubicBezTo>
                  <a:pt x="825608" y="617266"/>
                  <a:pt x="719584" y="824922"/>
                  <a:pt x="648065" y="1045754"/>
                </a:cubicBezTo>
                <a:cubicBezTo>
                  <a:pt x="576545" y="1265957"/>
                  <a:pt x="540158" y="1496826"/>
                  <a:pt x="540158" y="1730833"/>
                </a:cubicBezTo>
                <a:cubicBezTo>
                  <a:pt x="539531" y="1880144"/>
                  <a:pt x="419078" y="2001225"/>
                  <a:pt x="269765" y="2001225"/>
                </a:cubicBez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Graphic 3">
            <a:extLst>
              <a:ext uri="{FF2B5EF4-FFF2-40B4-BE49-F238E27FC236}">
                <a16:creationId xmlns:a16="http://schemas.microsoft.com/office/drawing/2014/main" id="{CC860EE4-22E6-44B1-A36E-2B341BBBA076}"/>
              </a:ext>
            </a:extLst>
          </p:cNvPr>
          <p:cNvSpPr/>
          <p:nvPr userDrawn="1"/>
        </p:nvSpPr>
        <p:spPr>
          <a:xfrm>
            <a:off x="2179832" y="1148599"/>
            <a:ext cx="1563953" cy="4011918"/>
          </a:xfrm>
          <a:custGeom>
            <a:avLst/>
            <a:gdLst>
              <a:gd name="connsiteX0" fmla="*/ 819903 w 1563953"/>
              <a:gd name="connsiteY0" fmla="*/ 4011919 h 4011918"/>
              <a:gd name="connsiteX1" fmla="*/ 661181 w 1563953"/>
              <a:gd name="connsiteY1" fmla="*/ 3960475 h 4011918"/>
              <a:gd name="connsiteX2" fmla="*/ 601581 w 1563953"/>
              <a:gd name="connsiteY2" fmla="*/ 3583431 h 4011918"/>
              <a:gd name="connsiteX3" fmla="*/ 916517 w 1563953"/>
              <a:gd name="connsiteY3" fmla="*/ 2966107 h 4011918"/>
              <a:gd name="connsiteX4" fmla="*/ 1024423 w 1563953"/>
              <a:gd name="connsiteY4" fmla="*/ 2281028 h 4011918"/>
              <a:gd name="connsiteX5" fmla="*/ 916517 w 1563953"/>
              <a:gd name="connsiteY5" fmla="*/ 1595950 h 4011918"/>
              <a:gd name="connsiteX6" fmla="*/ 601581 w 1563953"/>
              <a:gd name="connsiteY6" fmla="*/ 978626 h 4011918"/>
              <a:gd name="connsiteX7" fmla="*/ 110985 w 1563953"/>
              <a:gd name="connsiteY7" fmla="*/ 488029 h 4011918"/>
              <a:gd name="connsiteX8" fmla="*/ 51385 w 1563953"/>
              <a:gd name="connsiteY8" fmla="*/ 110985 h 4011918"/>
              <a:gd name="connsiteX9" fmla="*/ 428430 w 1563953"/>
              <a:gd name="connsiteY9" fmla="*/ 51385 h 4011918"/>
              <a:gd name="connsiteX10" fmla="*/ 1037598 w 1563953"/>
              <a:gd name="connsiteY10" fmla="*/ 660553 h 4011918"/>
              <a:gd name="connsiteX11" fmla="*/ 1429699 w 1563953"/>
              <a:gd name="connsiteY11" fmla="*/ 1429071 h 4011918"/>
              <a:gd name="connsiteX12" fmla="*/ 1563954 w 1563953"/>
              <a:gd name="connsiteY12" fmla="*/ 2281028 h 4011918"/>
              <a:gd name="connsiteX13" fmla="*/ 1429699 w 1563953"/>
              <a:gd name="connsiteY13" fmla="*/ 3132986 h 4011918"/>
              <a:gd name="connsiteX14" fmla="*/ 1037598 w 1563953"/>
              <a:gd name="connsiteY14" fmla="*/ 3901504 h 4011918"/>
              <a:gd name="connsiteX15" fmla="*/ 819903 w 1563953"/>
              <a:gd name="connsiteY15" fmla="*/ 4011919 h 4011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563953" h="4011918">
                <a:moveTo>
                  <a:pt x="819903" y="4011919"/>
                </a:moveTo>
                <a:cubicBezTo>
                  <a:pt x="764695" y="4011919"/>
                  <a:pt x="709488" y="3994980"/>
                  <a:pt x="661181" y="3960475"/>
                </a:cubicBezTo>
                <a:cubicBezTo>
                  <a:pt x="540727" y="3872645"/>
                  <a:pt x="514378" y="3703885"/>
                  <a:pt x="601581" y="3583431"/>
                </a:cubicBezTo>
                <a:cubicBezTo>
                  <a:pt x="738974" y="3394595"/>
                  <a:pt x="844998" y="3186939"/>
                  <a:pt x="916517" y="2966107"/>
                </a:cubicBezTo>
                <a:cubicBezTo>
                  <a:pt x="988036" y="2745903"/>
                  <a:pt x="1024423" y="2515034"/>
                  <a:pt x="1024423" y="2281028"/>
                </a:cubicBezTo>
                <a:cubicBezTo>
                  <a:pt x="1024423" y="2047022"/>
                  <a:pt x="988036" y="1816154"/>
                  <a:pt x="916517" y="1595950"/>
                </a:cubicBezTo>
                <a:cubicBezTo>
                  <a:pt x="844998" y="1375118"/>
                  <a:pt x="738974" y="1167462"/>
                  <a:pt x="601581" y="978626"/>
                </a:cubicBezTo>
                <a:cubicBezTo>
                  <a:pt x="464189" y="790417"/>
                  <a:pt x="299193" y="624794"/>
                  <a:pt x="110985" y="488029"/>
                </a:cubicBezTo>
                <a:cubicBezTo>
                  <a:pt x="-9469" y="400198"/>
                  <a:pt x="-35818" y="231438"/>
                  <a:pt x="51385" y="110985"/>
                </a:cubicBezTo>
                <a:cubicBezTo>
                  <a:pt x="139216" y="-9469"/>
                  <a:pt x="307976" y="-35818"/>
                  <a:pt x="428430" y="51385"/>
                </a:cubicBezTo>
                <a:cubicBezTo>
                  <a:pt x="662436" y="222028"/>
                  <a:pt x="867583" y="426548"/>
                  <a:pt x="1037598" y="660553"/>
                </a:cubicBezTo>
                <a:cubicBezTo>
                  <a:pt x="1208240" y="895187"/>
                  <a:pt x="1340613" y="1153660"/>
                  <a:pt x="1429699" y="1429071"/>
                </a:cubicBezTo>
                <a:cubicBezTo>
                  <a:pt x="1518784" y="1703228"/>
                  <a:pt x="1563954" y="1989933"/>
                  <a:pt x="1563954" y="2281028"/>
                </a:cubicBezTo>
                <a:cubicBezTo>
                  <a:pt x="1563954" y="2572124"/>
                  <a:pt x="1518784" y="2858201"/>
                  <a:pt x="1429699" y="3132986"/>
                </a:cubicBezTo>
                <a:cubicBezTo>
                  <a:pt x="1340613" y="3408397"/>
                  <a:pt x="1208240" y="3666870"/>
                  <a:pt x="1037598" y="3901504"/>
                </a:cubicBezTo>
                <a:cubicBezTo>
                  <a:pt x="985527" y="3973023"/>
                  <a:pt x="903343" y="4011919"/>
                  <a:pt x="819903" y="4011919"/>
                </a:cubicBez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Graphic 3">
            <a:extLst>
              <a:ext uri="{FF2B5EF4-FFF2-40B4-BE49-F238E27FC236}">
                <a16:creationId xmlns:a16="http://schemas.microsoft.com/office/drawing/2014/main" id="{7F108337-EF79-4973-B368-C5A7281F82D0}"/>
              </a:ext>
            </a:extLst>
          </p:cNvPr>
          <p:cNvSpPr/>
          <p:nvPr userDrawn="1"/>
        </p:nvSpPr>
        <p:spPr>
          <a:xfrm>
            <a:off x="-386785" y="-416726"/>
            <a:ext cx="2750636" cy="713937"/>
          </a:xfrm>
          <a:custGeom>
            <a:avLst/>
            <a:gdLst>
              <a:gd name="connsiteX0" fmla="*/ 2480610 w 2750636"/>
              <a:gd name="connsiteY0" fmla="*/ 713938 h 713937"/>
              <a:gd name="connsiteX1" fmla="*/ 2397171 w 2750636"/>
              <a:gd name="connsiteY1" fmla="*/ 700763 h 713937"/>
              <a:gd name="connsiteX2" fmla="*/ 1375199 w 2750636"/>
              <a:gd name="connsiteY2" fmla="*/ 539531 h 713937"/>
              <a:gd name="connsiteX3" fmla="*/ 353227 w 2750636"/>
              <a:gd name="connsiteY3" fmla="*/ 700136 h 713937"/>
              <a:gd name="connsiteX4" fmla="*/ 13197 w 2750636"/>
              <a:gd name="connsiteY4" fmla="*/ 526984 h 713937"/>
              <a:gd name="connsiteX5" fmla="*/ 186349 w 2750636"/>
              <a:gd name="connsiteY5" fmla="*/ 186954 h 713937"/>
              <a:gd name="connsiteX6" fmla="*/ 1375199 w 2750636"/>
              <a:gd name="connsiteY6" fmla="*/ 0 h 713937"/>
              <a:gd name="connsiteX7" fmla="*/ 2564049 w 2750636"/>
              <a:gd name="connsiteY7" fmla="*/ 187581 h 713937"/>
              <a:gd name="connsiteX8" fmla="*/ 2737201 w 2750636"/>
              <a:gd name="connsiteY8" fmla="*/ 527611 h 713937"/>
              <a:gd name="connsiteX9" fmla="*/ 2480610 w 2750636"/>
              <a:gd name="connsiteY9" fmla="*/ 713938 h 713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50636" h="713937">
                <a:moveTo>
                  <a:pt x="2480610" y="713938"/>
                </a:moveTo>
                <a:cubicBezTo>
                  <a:pt x="2453006" y="713938"/>
                  <a:pt x="2424775" y="709546"/>
                  <a:pt x="2397171" y="700763"/>
                </a:cubicBezTo>
                <a:cubicBezTo>
                  <a:pt x="2068434" y="593484"/>
                  <a:pt x="1724640" y="539531"/>
                  <a:pt x="1375199" y="539531"/>
                </a:cubicBezTo>
                <a:cubicBezTo>
                  <a:pt x="1025759" y="539531"/>
                  <a:pt x="681965" y="593484"/>
                  <a:pt x="353227" y="700136"/>
                </a:cubicBezTo>
                <a:cubicBezTo>
                  <a:pt x="211443" y="745933"/>
                  <a:pt x="59622" y="668767"/>
                  <a:pt x="13197" y="526984"/>
                </a:cubicBezTo>
                <a:cubicBezTo>
                  <a:pt x="-32600" y="385200"/>
                  <a:pt x="44565" y="233379"/>
                  <a:pt x="186349" y="186954"/>
                </a:cubicBezTo>
                <a:cubicBezTo>
                  <a:pt x="569040" y="62736"/>
                  <a:pt x="969296" y="0"/>
                  <a:pt x="1375199" y="0"/>
                </a:cubicBezTo>
                <a:cubicBezTo>
                  <a:pt x="1781102" y="0"/>
                  <a:pt x="2181359" y="62736"/>
                  <a:pt x="2564049" y="187581"/>
                </a:cubicBezTo>
                <a:cubicBezTo>
                  <a:pt x="2705833" y="233379"/>
                  <a:pt x="2783626" y="385827"/>
                  <a:pt x="2737201" y="527611"/>
                </a:cubicBezTo>
                <a:cubicBezTo>
                  <a:pt x="2700187" y="641164"/>
                  <a:pt x="2594163" y="713938"/>
                  <a:pt x="2480610" y="713938"/>
                </a:cubicBez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Graphic 3">
            <a:extLst>
              <a:ext uri="{FF2B5EF4-FFF2-40B4-BE49-F238E27FC236}">
                <a16:creationId xmlns:a16="http://schemas.microsoft.com/office/drawing/2014/main" id="{2FB19151-BC62-4FBD-9373-E6F07895C595}"/>
              </a:ext>
            </a:extLst>
          </p:cNvPr>
          <p:cNvSpPr/>
          <p:nvPr userDrawn="1"/>
        </p:nvSpPr>
        <p:spPr>
          <a:xfrm>
            <a:off x="-2857311" y="265629"/>
            <a:ext cx="2014043" cy="3433135"/>
          </a:xfrm>
          <a:custGeom>
            <a:avLst/>
            <a:gdLst>
              <a:gd name="connsiteX0" fmla="*/ 269765 w 2014043"/>
              <a:gd name="connsiteY0" fmla="*/ 3433136 h 3433135"/>
              <a:gd name="connsiteX1" fmla="*/ 0 w 2014043"/>
              <a:gd name="connsiteY1" fmla="*/ 3163370 h 3433135"/>
              <a:gd name="connsiteX2" fmla="*/ 187581 w 2014043"/>
              <a:gd name="connsiteY2" fmla="*/ 1974520 h 3433135"/>
              <a:gd name="connsiteX3" fmla="*/ 734640 w 2014043"/>
              <a:gd name="connsiteY3" fmla="*/ 902359 h 3433135"/>
              <a:gd name="connsiteX4" fmla="*/ 1585343 w 2014043"/>
              <a:gd name="connsiteY4" fmla="*/ 51657 h 3433135"/>
              <a:gd name="connsiteX5" fmla="*/ 1962387 w 2014043"/>
              <a:gd name="connsiteY5" fmla="*/ 111256 h 3433135"/>
              <a:gd name="connsiteX6" fmla="*/ 1902788 w 2014043"/>
              <a:gd name="connsiteY6" fmla="*/ 488301 h 3433135"/>
              <a:gd name="connsiteX7" fmla="*/ 1171284 w 2014043"/>
              <a:gd name="connsiteY7" fmla="*/ 1219804 h 3433135"/>
              <a:gd name="connsiteX8" fmla="*/ 701390 w 2014043"/>
              <a:gd name="connsiteY8" fmla="*/ 2140771 h 3433135"/>
              <a:gd name="connsiteX9" fmla="*/ 539531 w 2014043"/>
              <a:gd name="connsiteY9" fmla="*/ 3163370 h 3433135"/>
              <a:gd name="connsiteX10" fmla="*/ 269765 w 2014043"/>
              <a:gd name="connsiteY10" fmla="*/ 3433136 h 3433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14043" h="3433135">
                <a:moveTo>
                  <a:pt x="269765" y="3433136"/>
                </a:moveTo>
                <a:cubicBezTo>
                  <a:pt x="121081" y="3433136"/>
                  <a:pt x="0" y="3312055"/>
                  <a:pt x="0" y="3163370"/>
                </a:cubicBezTo>
                <a:cubicBezTo>
                  <a:pt x="0" y="2757467"/>
                  <a:pt x="62736" y="2357211"/>
                  <a:pt x="187581" y="1974520"/>
                </a:cubicBezTo>
                <a:cubicBezTo>
                  <a:pt x="312426" y="1590575"/>
                  <a:pt x="496243" y="1229842"/>
                  <a:pt x="734640" y="902359"/>
                </a:cubicBezTo>
                <a:cubicBezTo>
                  <a:pt x="972410" y="575504"/>
                  <a:pt x="1258487" y="289427"/>
                  <a:pt x="1585343" y="51657"/>
                </a:cubicBezTo>
                <a:cubicBezTo>
                  <a:pt x="1705796" y="-36174"/>
                  <a:pt x="1874556" y="-9197"/>
                  <a:pt x="1962387" y="111256"/>
                </a:cubicBezTo>
                <a:cubicBezTo>
                  <a:pt x="2050218" y="231710"/>
                  <a:pt x="2023241" y="400470"/>
                  <a:pt x="1902788" y="488301"/>
                </a:cubicBezTo>
                <a:cubicBezTo>
                  <a:pt x="1621730" y="692821"/>
                  <a:pt x="1375804" y="938746"/>
                  <a:pt x="1171284" y="1219804"/>
                </a:cubicBezTo>
                <a:cubicBezTo>
                  <a:pt x="966137" y="1501490"/>
                  <a:pt x="808042" y="1811406"/>
                  <a:pt x="701390" y="2140771"/>
                </a:cubicBezTo>
                <a:cubicBezTo>
                  <a:pt x="593484" y="2470136"/>
                  <a:pt x="539531" y="2813930"/>
                  <a:pt x="539531" y="3163370"/>
                </a:cubicBezTo>
                <a:cubicBezTo>
                  <a:pt x="539531" y="3312055"/>
                  <a:pt x="418450" y="3433136"/>
                  <a:pt x="269765" y="3433136"/>
                </a:cubicBez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Graphic 3">
            <a:extLst>
              <a:ext uri="{FF2B5EF4-FFF2-40B4-BE49-F238E27FC236}">
                <a16:creationId xmlns:a16="http://schemas.microsoft.com/office/drawing/2014/main" id="{AE0DC932-5BCC-4C52-A14E-64BD93F19962}"/>
              </a:ext>
            </a:extLst>
          </p:cNvPr>
          <p:cNvSpPr/>
          <p:nvPr userDrawn="1"/>
        </p:nvSpPr>
        <p:spPr>
          <a:xfrm>
            <a:off x="-2174955" y="5261309"/>
            <a:ext cx="2327985" cy="1839637"/>
          </a:xfrm>
          <a:custGeom>
            <a:avLst/>
            <a:gdLst>
              <a:gd name="connsiteX0" fmla="*/ 2057959 w 2327985"/>
              <a:gd name="connsiteY0" fmla="*/ 1839638 h 1839637"/>
              <a:gd name="connsiteX1" fmla="*/ 1974520 w 2327985"/>
              <a:gd name="connsiteY1" fmla="*/ 1826463 h 1839637"/>
              <a:gd name="connsiteX2" fmla="*/ 902359 w 2327985"/>
              <a:gd name="connsiteY2" fmla="*/ 1279404 h 1839637"/>
              <a:gd name="connsiteX3" fmla="*/ 51657 w 2327985"/>
              <a:gd name="connsiteY3" fmla="*/ 428702 h 1839637"/>
              <a:gd name="connsiteX4" fmla="*/ 111256 w 2327985"/>
              <a:gd name="connsiteY4" fmla="*/ 51657 h 1839637"/>
              <a:gd name="connsiteX5" fmla="*/ 488301 w 2327985"/>
              <a:gd name="connsiteY5" fmla="*/ 111256 h 1839637"/>
              <a:gd name="connsiteX6" fmla="*/ 1219804 w 2327985"/>
              <a:gd name="connsiteY6" fmla="*/ 842760 h 1839637"/>
              <a:gd name="connsiteX7" fmla="*/ 2141399 w 2327985"/>
              <a:gd name="connsiteY7" fmla="*/ 1312654 h 1839637"/>
              <a:gd name="connsiteX8" fmla="*/ 2314550 w 2327985"/>
              <a:gd name="connsiteY8" fmla="*/ 1652684 h 1839637"/>
              <a:gd name="connsiteX9" fmla="*/ 2057959 w 2327985"/>
              <a:gd name="connsiteY9" fmla="*/ 1839638 h 183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27985" h="1839637">
                <a:moveTo>
                  <a:pt x="2057959" y="1839638"/>
                </a:moveTo>
                <a:cubicBezTo>
                  <a:pt x="2030355" y="1839638"/>
                  <a:pt x="2002124" y="1835246"/>
                  <a:pt x="1974520" y="1826463"/>
                </a:cubicBezTo>
                <a:cubicBezTo>
                  <a:pt x="1590575" y="1701618"/>
                  <a:pt x="1229842" y="1517801"/>
                  <a:pt x="902359" y="1279404"/>
                </a:cubicBezTo>
                <a:cubicBezTo>
                  <a:pt x="575504" y="1041634"/>
                  <a:pt x="289427" y="755557"/>
                  <a:pt x="51657" y="428702"/>
                </a:cubicBezTo>
                <a:cubicBezTo>
                  <a:pt x="-36174" y="308248"/>
                  <a:pt x="-9197" y="139488"/>
                  <a:pt x="111256" y="51657"/>
                </a:cubicBezTo>
                <a:cubicBezTo>
                  <a:pt x="231710" y="-36174"/>
                  <a:pt x="400470" y="-9197"/>
                  <a:pt x="488301" y="111256"/>
                </a:cubicBezTo>
                <a:cubicBezTo>
                  <a:pt x="692821" y="392314"/>
                  <a:pt x="938746" y="638240"/>
                  <a:pt x="1219804" y="842760"/>
                </a:cubicBezTo>
                <a:cubicBezTo>
                  <a:pt x="1501490" y="1047907"/>
                  <a:pt x="1811406" y="1206003"/>
                  <a:pt x="2141399" y="1312654"/>
                </a:cubicBezTo>
                <a:cubicBezTo>
                  <a:pt x="2283182" y="1358451"/>
                  <a:pt x="2360975" y="1510900"/>
                  <a:pt x="2314550" y="1652684"/>
                </a:cubicBezTo>
                <a:cubicBezTo>
                  <a:pt x="2277536" y="1766863"/>
                  <a:pt x="2171512" y="1839638"/>
                  <a:pt x="2057959" y="1839638"/>
                </a:cubicBez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Graphic 3">
            <a:extLst>
              <a:ext uri="{FF2B5EF4-FFF2-40B4-BE49-F238E27FC236}">
                <a16:creationId xmlns:a16="http://schemas.microsoft.com/office/drawing/2014/main" id="{915E6235-AD5E-4E83-82D6-8195551C4B25}"/>
              </a:ext>
            </a:extLst>
          </p:cNvPr>
          <p:cNvSpPr/>
          <p:nvPr userDrawn="1"/>
        </p:nvSpPr>
        <p:spPr>
          <a:xfrm>
            <a:off x="3611472" y="3159234"/>
            <a:ext cx="1221414" cy="2641819"/>
          </a:xfrm>
          <a:custGeom>
            <a:avLst/>
            <a:gdLst>
              <a:gd name="connsiteX0" fmla="*/ 269707 w 1221414"/>
              <a:gd name="connsiteY0" fmla="*/ 2641820 h 2641819"/>
              <a:gd name="connsiteX1" fmla="*/ 110985 w 1221414"/>
              <a:gd name="connsiteY1" fmla="*/ 2590376 h 2641819"/>
              <a:gd name="connsiteX2" fmla="*/ 51386 w 1221414"/>
              <a:gd name="connsiteY2" fmla="*/ 2213332 h 2641819"/>
              <a:gd name="connsiteX3" fmla="*/ 521279 w 1221414"/>
              <a:gd name="connsiteY3" fmla="*/ 1291738 h 2641819"/>
              <a:gd name="connsiteX4" fmla="*/ 681884 w 1221414"/>
              <a:gd name="connsiteY4" fmla="*/ 269765 h 2641819"/>
              <a:gd name="connsiteX5" fmla="*/ 951649 w 1221414"/>
              <a:gd name="connsiteY5" fmla="*/ 0 h 2641819"/>
              <a:gd name="connsiteX6" fmla="*/ 1221415 w 1221414"/>
              <a:gd name="connsiteY6" fmla="*/ 269765 h 2641819"/>
              <a:gd name="connsiteX7" fmla="*/ 1033834 w 1221414"/>
              <a:gd name="connsiteY7" fmla="*/ 1458616 h 2641819"/>
              <a:gd name="connsiteX8" fmla="*/ 486774 w 1221414"/>
              <a:gd name="connsiteY8" fmla="*/ 2530777 h 2641819"/>
              <a:gd name="connsiteX9" fmla="*/ 269707 w 1221414"/>
              <a:gd name="connsiteY9" fmla="*/ 2641820 h 2641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21414" h="2641819">
                <a:moveTo>
                  <a:pt x="269707" y="2641820"/>
                </a:moveTo>
                <a:cubicBezTo>
                  <a:pt x="214500" y="2641820"/>
                  <a:pt x="159291" y="2624881"/>
                  <a:pt x="110985" y="2590376"/>
                </a:cubicBezTo>
                <a:cubicBezTo>
                  <a:pt x="-9469" y="2502546"/>
                  <a:pt x="-35818" y="2333785"/>
                  <a:pt x="51386" y="2213332"/>
                </a:cubicBezTo>
                <a:cubicBezTo>
                  <a:pt x="256533" y="1931646"/>
                  <a:pt x="414627" y="1621730"/>
                  <a:pt x="521279" y="1291738"/>
                </a:cubicBezTo>
                <a:cubicBezTo>
                  <a:pt x="627930" y="963000"/>
                  <a:pt x="681884" y="619206"/>
                  <a:pt x="681884" y="269765"/>
                </a:cubicBezTo>
                <a:cubicBezTo>
                  <a:pt x="681884" y="121081"/>
                  <a:pt x="802964" y="0"/>
                  <a:pt x="951649" y="0"/>
                </a:cubicBezTo>
                <a:cubicBezTo>
                  <a:pt x="1100334" y="0"/>
                  <a:pt x="1221415" y="121081"/>
                  <a:pt x="1221415" y="269765"/>
                </a:cubicBezTo>
                <a:cubicBezTo>
                  <a:pt x="1221415" y="675669"/>
                  <a:pt x="1158679" y="1075925"/>
                  <a:pt x="1033834" y="1458616"/>
                </a:cubicBezTo>
                <a:cubicBezTo>
                  <a:pt x="908989" y="1842561"/>
                  <a:pt x="725171" y="2203294"/>
                  <a:pt x="486774" y="2530777"/>
                </a:cubicBezTo>
                <a:cubicBezTo>
                  <a:pt x="435331" y="2602923"/>
                  <a:pt x="353146" y="2641820"/>
                  <a:pt x="269707" y="2641820"/>
                </a:cubicBez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Graphic 3">
            <a:extLst>
              <a:ext uri="{FF2B5EF4-FFF2-40B4-BE49-F238E27FC236}">
                <a16:creationId xmlns:a16="http://schemas.microsoft.com/office/drawing/2014/main" id="{B7D06348-7A1A-4F2B-BAC6-366C6D66A0C4}"/>
              </a:ext>
            </a:extLst>
          </p:cNvPr>
          <p:cNvSpPr/>
          <p:nvPr userDrawn="1"/>
        </p:nvSpPr>
        <p:spPr>
          <a:xfrm>
            <a:off x="1470856" y="801609"/>
            <a:ext cx="539530" cy="539530"/>
          </a:xfrm>
          <a:custGeom>
            <a:avLst/>
            <a:gdLst>
              <a:gd name="connsiteX0" fmla="*/ 539531 w 539530"/>
              <a:gd name="connsiteY0" fmla="*/ 269765 h 539530"/>
              <a:gd name="connsiteX1" fmla="*/ 269766 w 539530"/>
              <a:gd name="connsiteY1" fmla="*/ 539531 h 539530"/>
              <a:gd name="connsiteX2" fmla="*/ 0 w 539530"/>
              <a:gd name="connsiteY2" fmla="*/ 269766 h 539530"/>
              <a:gd name="connsiteX3" fmla="*/ 269766 w 539530"/>
              <a:gd name="connsiteY3" fmla="*/ 0 h 539530"/>
              <a:gd name="connsiteX4" fmla="*/ 539531 w 539530"/>
              <a:gd name="connsiteY4" fmla="*/ 269765 h 53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9530" h="539530">
                <a:moveTo>
                  <a:pt x="539531" y="269765"/>
                </a:moveTo>
                <a:cubicBezTo>
                  <a:pt x="539531" y="418753"/>
                  <a:pt x="418753" y="539531"/>
                  <a:pt x="269766" y="539531"/>
                </a:cubicBezTo>
                <a:cubicBezTo>
                  <a:pt x="120778" y="539531"/>
                  <a:pt x="0" y="418753"/>
                  <a:pt x="0" y="269766"/>
                </a:cubicBezTo>
                <a:cubicBezTo>
                  <a:pt x="0" y="120778"/>
                  <a:pt x="120778" y="0"/>
                  <a:pt x="269766" y="0"/>
                </a:cubicBezTo>
                <a:cubicBezTo>
                  <a:pt x="418753" y="0"/>
                  <a:pt x="539531" y="120778"/>
                  <a:pt x="539531" y="269765"/>
                </a:cubicBez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Graphic 3">
            <a:extLst>
              <a:ext uri="{FF2B5EF4-FFF2-40B4-BE49-F238E27FC236}">
                <a16:creationId xmlns:a16="http://schemas.microsoft.com/office/drawing/2014/main" id="{9747767E-90B3-417B-9AF5-31D01C6D37C2}"/>
              </a:ext>
            </a:extLst>
          </p:cNvPr>
          <p:cNvSpPr/>
          <p:nvPr userDrawn="1"/>
        </p:nvSpPr>
        <p:spPr>
          <a:xfrm>
            <a:off x="-1643995" y="3927125"/>
            <a:ext cx="539530" cy="539530"/>
          </a:xfrm>
          <a:custGeom>
            <a:avLst/>
            <a:gdLst>
              <a:gd name="connsiteX0" fmla="*/ 539531 w 539530"/>
              <a:gd name="connsiteY0" fmla="*/ 269766 h 539530"/>
              <a:gd name="connsiteX1" fmla="*/ 269765 w 539530"/>
              <a:gd name="connsiteY1" fmla="*/ 539531 h 539530"/>
              <a:gd name="connsiteX2" fmla="*/ 0 w 539530"/>
              <a:gd name="connsiteY2" fmla="*/ 269766 h 539530"/>
              <a:gd name="connsiteX3" fmla="*/ 269765 w 539530"/>
              <a:gd name="connsiteY3" fmla="*/ 0 h 539530"/>
              <a:gd name="connsiteX4" fmla="*/ 539531 w 539530"/>
              <a:gd name="connsiteY4" fmla="*/ 269766 h 539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9530" h="539530">
                <a:moveTo>
                  <a:pt x="539531" y="269766"/>
                </a:moveTo>
                <a:cubicBezTo>
                  <a:pt x="539531" y="418753"/>
                  <a:pt x="418753" y="539531"/>
                  <a:pt x="269765" y="539531"/>
                </a:cubicBezTo>
                <a:cubicBezTo>
                  <a:pt x="120778" y="539531"/>
                  <a:pt x="0" y="418753"/>
                  <a:pt x="0" y="269766"/>
                </a:cubicBezTo>
                <a:cubicBezTo>
                  <a:pt x="0" y="120778"/>
                  <a:pt x="120778" y="0"/>
                  <a:pt x="269765" y="0"/>
                </a:cubicBezTo>
                <a:cubicBezTo>
                  <a:pt x="418753" y="0"/>
                  <a:pt x="539531" y="120778"/>
                  <a:pt x="539531" y="269766"/>
                </a:cubicBez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0B262858-182C-416F-9289-6A426F94CAF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284249" y="270064"/>
            <a:ext cx="5923980" cy="6998036"/>
          </a:xfrm>
          <a:custGeom>
            <a:avLst/>
            <a:gdLst>
              <a:gd name="connsiteX0" fmla="*/ 4367539 w 5923980"/>
              <a:gd name="connsiteY0" fmla="*/ 5778477 h 6998036"/>
              <a:gd name="connsiteX1" fmla="*/ 4595189 w 5923980"/>
              <a:gd name="connsiteY1" fmla="*/ 5889145 h 6998036"/>
              <a:gd name="connsiteX2" fmla="*/ 4535674 w 5923980"/>
              <a:gd name="connsiteY2" fmla="*/ 6265661 h 6998036"/>
              <a:gd name="connsiteX3" fmla="*/ 3465015 w 5923980"/>
              <a:gd name="connsiteY3" fmla="*/ 6811953 h 6998036"/>
              <a:gd name="connsiteX4" fmla="*/ 2278458 w 5923980"/>
              <a:gd name="connsiteY4" fmla="*/ 6998018 h 6998036"/>
              <a:gd name="connsiteX5" fmla="*/ 2009071 w 5923980"/>
              <a:gd name="connsiteY5" fmla="*/ 6728631 h 6998036"/>
              <a:gd name="connsiteX6" fmla="*/ 2278458 w 5923980"/>
              <a:gd name="connsiteY6" fmla="*/ 6459244 h 6998036"/>
              <a:gd name="connsiteX7" fmla="*/ 3298998 w 5923980"/>
              <a:gd name="connsiteY7" fmla="*/ 6298864 h 6998036"/>
              <a:gd name="connsiteX8" fmla="*/ 4218673 w 5923980"/>
              <a:gd name="connsiteY8" fmla="*/ 5829629 h 6998036"/>
              <a:gd name="connsiteX9" fmla="*/ 4367539 w 5923980"/>
              <a:gd name="connsiteY9" fmla="*/ 5778477 h 6998036"/>
              <a:gd name="connsiteX10" fmla="*/ 3726923 w 5923980"/>
              <a:gd name="connsiteY10" fmla="*/ 4896115 h 6998036"/>
              <a:gd name="connsiteX11" fmla="*/ 3954298 w 5923980"/>
              <a:gd name="connsiteY11" fmla="*/ 5007058 h 6998036"/>
              <a:gd name="connsiteX12" fmla="*/ 3894782 w 5923980"/>
              <a:gd name="connsiteY12" fmla="*/ 5383574 h 6998036"/>
              <a:gd name="connsiteX13" fmla="*/ 3518266 w 5923980"/>
              <a:gd name="connsiteY13" fmla="*/ 5324058 h 6998036"/>
              <a:gd name="connsiteX14" fmla="*/ 3577782 w 5923980"/>
              <a:gd name="connsiteY14" fmla="*/ 4947542 h 6998036"/>
              <a:gd name="connsiteX15" fmla="*/ 3726923 w 5923980"/>
              <a:gd name="connsiteY15" fmla="*/ 4896115 h 6998036"/>
              <a:gd name="connsiteX16" fmla="*/ 259696 w 5923980"/>
              <a:gd name="connsiteY16" fmla="*/ 4349471 h 6998036"/>
              <a:gd name="connsiteX17" fmla="*/ 487346 w 5923980"/>
              <a:gd name="connsiteY17" fmla="*/ 4460139 h 6998036"/>
              <a:gd name="connsiteX18" fmla="*/ 977255 w 5923980"/>
              <a:gd name="connsiteY18" fmla="*/ 4950048 h 6998036"/>
              <a:gd name="connsiteX19" fmla="*/ 1593713 w 5923980"/>
              <a:gd name="connsiteY19" fmla="*/ 5264542 h 6998036"/>
              <a:gd name="connsiteX20" fmla="*/ 2277832 w 5923980"/>
              <a:gd name="connsiteY20" fmla="*/ 5372297 h 6998036"/>
              <a:gd name="connsiteX21" fmla="*/ 2961950 w 5923980"/>
              <a:gd name="connsiteY21" fmla="*/ 5264542 h 6998036"/>
              <a:gd name="connsiteX22" fmla="*/ 3301504 w 5923980"/>
              <a:gd name="connsiteY22" fmla="*/ 5437451 h 6998036"/>
              <a:gd name="connsiteX23" fmla="*/ 3128594 w 5923980"/>
              <a:gd name="connsiteY23" fmla="*/ 5777005 h 6998036"/>
              <a:gd name="connsiteX24" fmla="*/ 2277832 w 5923980"/>
              <a:gd name="connsiteY24" fmla="*/ 5911072 h 6998036"/>
              <a:gd name="connsiteX25" fmla="*/ 1427069 w 5923980"/>
              <a:gd name="connsiteY25" fmla="*/ 5777005 h 6998036"/>
              <a:gd name="connsiteX26" fmla="*/ 659629 w 5923980"/>
              <a:gd name="connsiteY26" fmla="*/ 5385453 h 6998036"/>
              <a:gd name="connsiteX27" fmla="*/ 51314 w 5923980"/>
              <a:gd name="connsiteY27" fmla="*/ 4777139 h 6998036"/>
              <a:gd name="connsiteX28" fmla="*/ 110830 w 5923980"/>
              <a:gd name="connsiteY28" fmla="*/ 4400624 h 6998036"/>
              <a:gd name="connsiteX29" fmla="*/ 259696 w 5923980"/>
              <a:gd name="connsiteY29" fmla="*/ 4349471 h 6998036"/>
              <a:gd name="connsiteX30" fmla="*/ 5677604 w 5923980"/>
              <a:gd name="connsiteY30" fmla="*/ 1783524 h 6998036"/>
              <a:gd name="connsiteX31" fmla="*/ 5910802 w 5923980"/>
              <a:gd name="connsiteY31" fmla="*/ 1968620 h 6998036"/>
              <a:gd name="connsiteX32" fmla="*/ 5737893 w 5923980"/>
              <a:gd name="connsiteY32" fmla="*/ 2308173 h 6998036"/>
              <a:gd name="connsiteX33" fmla="*/ 5398339 w 5923980"/>
              <a:gd name="connsiteY33" fmla="*/ 2135264 h 6998036"/>
              <a:gd name="connsiteX34" fmla="*/ 5571248 w 5923980"/>
              <a:gd name="connsiteY34" fmla="*/ 1795711 h 6998036"/>
              <a:gd name="connsiteX35" fmla="*/ 5677604 w 5923980"/>
              <a:gd name="connsiteY35" fmla="*/ 1783524 h 6998036"/>
              <a:gd name="connsiteX36" fmla="*/ 2277832 w 5923980"/>
              <a:gd name="connsiteY36" fmla="*/ 1492493 h 6998036"/>
              <a:gd name="connsiteX37" fmla="*/ 3944274 w 5923980"/>
              <a:gd name="connsiteY37" fmla="*/ 3158936 h 6998036"/>
              <a:gd name="connsiteX38" fmla="*/ 2277832 w 5923980"/>
              <a:gd name="connsiteY38" fmla="*/ 4825378 h 6998036"/>
              <a:gd name="connsiteX39" fmla="*/ 611389 w 5923980"/>
              <a:gd name="connsiteY39" fmla="*/ 3158936 h 6998036"/>
              <a:gd name="connsiteX40" fmla="*/ 2277832 w 5923980"/>
              <a:gd name="connsiteY40" fmla="*/ 1492493 h 6998036"/>
              <a:gd name="connsiteX41" fmla="*/ 2277832 w 5923980"/>
              <a:gd name="connsiteY41" fmla="*/ 406800 h 6998036"/>
              <a:gd name="connsiteX42" fmla="*/ 2547219 w 5923980"/>
              <a:gd name="connsiteY42" fmla="*/ 676187 h 6998036"/>
              <a:gd name="connsiteX43" fmla="*/ 2277832 w 5923980"/>
              <a:gd name="connsiteY43" fmla="*/ 945575 h 6998036"/>
              <a:gd name="connsiteX44" fmla="*/ 1593713 w 5923980"/>
              <a:gd name="connsiteY44" fmla="*/ 1053329 h 6998036"/>
              <a:gd name="connsiteX45" fmla="*/ 977255 w 5923980"/>
              <a:gd name="connsiteY45" fmla="*/ 1367824 h 6998036"/>
              <a:gd name="connsiteX46" fmla="*/ 818128 w 5923980"/>
              <a:gd name="connsiteY46" fmla="*/ 1419821 h 6998036"/>
              <a:gd name="connsiteX47" fmla="*/ 600113 w 5923980"/>
              <a:gd name="connsiteY47" fmla="*/ 1308934 h 6998036"/>
              <a:gd name="connsiteX48" fmla="*/ 659629 w 5923980"/>
              <a:gd name="connsiteY48" fmla="*/ 932418 h 6998036"/>
              <a:gd name="connsiteX49" fmla="*/ 1427069 w 5923980"/>
              <a:gd name="connsiteY49" fmla="*/ 540867 h 6998036"/>
              <a:gd name="connsiteX50" fmla="*/ 2277832 w 5923980"/>
              <a:gd name="connsiteY50" fmla="*/ 406800 h 6998036"/>
              <a:gd name="connsiteX51" fmla="*/ 4386808 w 5923980"/>
              <a:gd name="connsiteY51" fmla="*/ 157 h 6998036"/>
              <a:gd name="connsiteX52" fmla="*/ 4535674 w 5923980"/>
              <a:gd name="connsiteY52" fmla="*/ 51585 h 6998036"/>
              <a:gd name="connsiteX53" fmla="*/ 5385183 w 5923980"/>
              <a:gd name="connsiteY53" fmla="*/ 901094 h 6998036"/>
              <a:gd name="connsiteX54" fmla="*/ 5325667 w 5923980"/>
              <a:gd name="connsiteY54" fmla="*/ 1277610 h 6998036"/>
              <a:gd name="connsiteX55" fmla="*/ 5167167 w 5923980"/>
              <a:gd name="connsiteY55" fmla="*/ 1328982 h 6998036"/>
              <a:gd name="connsiteX56" fmla="*/ 4949152 w 5923980"/>
              <a:gd name="connsiteY56" fmla="*/ 1218094 h 6998036"/>
              <a:gd name="connsiteX57" fmla="*/ 4218673 w 5923980"/>
              <a:gd name="connsiteY57" fmla="*/ 487616 h 6998036"/>
              <a:gd name="connsiteX58" fmla="*/ 4159157 w 5923980"/>
              <a:gd name="connsiteY58" fmla="*/ 111100 h 6998036"/>
              <a:gd name="connsiteX59" fmla="*/ 4386808 w 5923980"/>
              <a:gd name="connsiteY59" fmla="*/ 157 h 6998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923980" h="6998036">
                <a:moveTo>
                  <a:pt x="4367539" y="5778477"/>
                </a:moveTo>
                <a:cubicBezTo>
                  <a:pt x="4453986" y="5775497"/>
                  <a:pt x="4540372" y="5813967"/>
                  <a:pt x="4595189" y="5889145"/>
                </a:cubicBezTo>
                <a:cubicBezTo>
                  <a:pt x="4682270" y="6009429"/>
                  <a:pt x="4655958" y="6177953"/>
                  <a:pt x="4535674" y="6265661"/>
                </a:cubicBezTo>
                <a:cubicBezTo>
                  <a:pt x="4208650" y="6503724"/>
                  <a:pt x="3848422" y="6687283"/>
                  <a:pt x="3465015" y="6811953"/>
                </a:cubicBezTo>
                <a:cubicBezTo>
                  <a:pt x="3082861" y="6936623"/>
                  <a:pt x="2683166" y="6999271"/>
                  <a:pt x="2278458" y="6998018"/>
                </a:cubicBezTo>
                <a:cubicBezTo>
                  <a:pt x="2129982" y="6998018"/>
                  <a:pt x="2009071" y="6877107"/>
                  <a:pt x="2009071" y="6728631"/>
                </a:cubicBezTo>
                <a:cubicBezTo>
                  <a:pt x="2009071" y="6580154"/>
                  <a:pt x="2129982" y="6459244"/>
                  <a:pt x="2278458" y="6459244"/>
                </a:cubicBezTo>
                <a:cubicBezTo>
                  <a:pt x="2627409" y="6459244"/>
                  <a:pt x="2970721" y="6405366"/>
                  <a:pt x="3298998" y="6298864"/>
                </a:cubicBezTo>
                <a:cubicBezTo>
                  <a:pt x="3627901" y="6192362"/>
                  <a:pt x="3937383" y="6034489"/>
                  <a:pt x="4218673" y="5829629"/>
                </a:cubicBezTo>
                <a:cubicBezTo>
                  <a:pt x="4263780" y="5796974"/>
                  <a:pt x="4315671" y="5780264"/>
                  <a:pt x="4367539" y="5778477"/>
                </a:cubicBezTo>
                <a:close/>
                <a:moveTo>
                  <a:pt x="3726923" y="4896115"/>
                </a:moveTo>
                <a:cubicBezTo>
                  <a:pt x="3813339" y="4893166"/>
                  <a:pt x="3899481" y="4931880"/>
                  <a:pt x="3954298" y="5007058"/>
                </a:cubicBezTo>
                <a:cubicBezTo>
                  <a:pt x="4042005" y="5127969"/>
                  <a:pt x="4015067" y="5295866"/>
                  <a:pt x="3894782" y="5383574"/>
                </a:cubicBezTo>
                <a:cubicBezTo>
                  <a:pt x="3773871" y="5471281"/>
                  <a:pt x="3605974" y="5444343"/>
                  <a:pt x="3518266" y="5324058"/>
                </a:cubicBezTo>
                <a:cubicBezTo>
                  <a:pt x="3430559" y="5203774"/>
                  <a:pt x="3457498" y="5035250"/>
                  <a:pt x="3577782" y="4947542"/>
                </a:cubicBezTo>
                <a:cubicBezTo>
                  <a:pt x="3623124" y="4914652"/>
                  <a:pt x="3675073" y="4897884"/>
                  <a:pt x="3726923" y="4896115"/>
                </a:cubicBezTo>
                <a:close/>
                <a:moveTo>
                  <a:pt x="259696" y="4349471"/>
                </a:moveTo>
                <a:cubicBezTo>
                  <a:pt x="346143" y="4346492"/>
                  <a:pt x="432529" y="4384962"/>
                  <a:pt x="487346" y="4460139"/>
                </a:cubicBezTo>
                <a:cubicBezTo>
                  <a:pt x="623919" y="4648084"/>
                  <a:pt x="789310" y="4812849"/>
                  <a:pt x="977255" y="4950048"/>
                </a:cubicBezTo>
                <a:cubicBezTo>
                  <a:pt x="1165826" y="5087248"/>
                  <a:pt x="1373192" y="5193123"/>
                  <a:pt x="1593713" y="5264542"/>
                </a:cubicBezTo>
                <a:cubicBezTo>
                  <a:pt x="1813609" y="5335961"/>
                  <a:pt x="2044154" y="5372297"/>
                  <a:pt x="2277832" y="5372297"/>
                </a:cubicBezTo>
                <a:cubicBezTo>
                  <a:pt x="2511510" y="5372297"/>
                  <a:pt x="2742055" y="5335961"/>
                  <a:pt x="2961950" y="5264542"/>
                </a:cubicBezTo>
                <a:cubicBezTo>
                  <a:pt x="3103535" y="5218183"/>
                  <a:pt x="3255770" y="5295866"/>
                  <a:pt x="3301504" y="5437451"/>
                </a:cubicBezTo>
                <a:cubicBezTo>
                  <a:pt x="3347863" y="5579036"/>
                  <a:pt x="3270180" y="5731271"/>
                  <a:pt x="3128594" y="5777005"/>
                </a:cubicBezTo>
                <a:cubicBezTo>
                  <a:pt x="2854195" y="5865965"/>
                  <a:pt x="2568520" y="5911072"/>
                  <a:pt x="2277832" y="5911072"/>
                </a:cubicBezTo>
                <a:cubicBezTo>
                  <a:pt x="1987144" y="5911072"/>
                  <a:pt x="1700842" y="5865965"/>
                  <a:pt x="1427069" y="5777005"/>
                </a:cubicBezTo>
                <a:cubicBezTo>
                  <a:pt x="1152043" y="5688044"/>
                  <a:pt x="893933" y="5555856"/>
                  <a:pt x="659629" y="5385453"/>
                </a:cubicBezTo>
                <a:cubicBezTo>
                  <a:pt x="425951" y="5215677"/>
                  <a:pt x="221717" y="5010817"/>
                  <a:pt x="51314" y="4777139"/>
                </a:cubicBezTo>
                <a:cubicBezTo>
                  <a:pt x="-35767" y="4656854"/>
                  <a:pt x="-9454" y="4488331"/>
                  <a:pt x="110830" y="4400624"/>
                </a:cubicBezTo>
                <a:cubicBezTo>
                  <a:pt x="155937" y="4367968"/>
                  <a:pt x="207827" y="4351259"/>
                  <a:pt x="259696" y="4349471"/>
                </a:cubicBezTo>
                <a:close/>
                <a:moveTo>
                  <a:pt x="5677604" y="1783524"/>
                </a:moveTo>
                <a:cubicBezTo>
                  <a:pt x="5782295" y="1792540"/>
                  <a:pt x="5876502" y="1862432"/>
                  <a:pt x="5910802" y="1968620"/>
                </a:cubicBezTo>
                <a:cubicBezTo>
                  <a:pt x="5956534" y="2110205"/>
                  <a:pt x="5879478" y="2262440"/>
                  <a:pt x="5737893" y="2308173"/>
                </a:cubicBezTo>
                <a:cubicBezTo>
                  <a:pt x="5596307" y="2354533"/>
                  <a:pt x="5444699" y="2276849"/>
                  <a:pt x="5398339" y="2135264"/>
                </a:cubicBezTo>
                <a:cubicBezTo>
                  <a:pt x="5352606" y="1993679"/>
                  <a:pt x="5429663" y="1841444"/>
                  <a:pt x="5571248" y="1795711"/>
                </a:cubicBezTo>
                <a:cubicBezTo>
                  <a:pt x="5606645" y="1784278"/>
                  <a:pt x="5642707" y="1780519"/>
                  <a:pt x="5677604" y="1783524"/>
                </a:cubicBezTo>
                <a:close/>
                <a:moveTo>
                  <a:pt x="2277832" y="1492493"/>
                </a:moveTo>
                <a:cubicBezTo>
                  <a:pt x="3198134" y="1492493"/>
                  <a:pt x="3944274" y="2238634"/>
                  <a:pt x="3944274" y="3158936"/>
                </a:cubicBezTo>
                <a:cubicBezTo>
                  <a:pt x="3944274" y="4079238"/>
                  <a:pt x="3198134" y="4825378"/>
                  <a:pt x="2277832" y="4825378"/>
                </a:cubicBezTo>
                <a:cubicBezTo>
                  <a:pt x="1357530" y="4825378"/>
                  <a:pt x="611389" y="4079238"/>
                  <a:pt x="611389" y="3158936"/>
                </a:cubicBezTo>
                <a:cubicBezTo>
                  <a:pt x="611389" y="2238634"/>
                  <a:pt x="1357530" y="1492493"/>
                  <a:pt x="2277832" y="1492493"/>
                </a:cubicBezTo>
                <a:close/>
                <a:moveTo>
                  <a:pt x="2277832" y="406800"/>
                </a:moveTo>
                <a:cubicBezTo>
                  <a:pt x="2426308" y="406800"/>
                  <a:pt x="2547219" y="527711"/>
                  <a:pt x="2547219" y="676187"/>
                </a:cubicBezTo>
                <a:cubicBezTo>
                  <a:pt x="2547219" y="824663"/>
                  <a:pt x="2426308" y="945575"/>
                  <a:pt x="2277832" y="945575"/>
                </a:cubicBezTo>
                <a:cubicBezTo>
                  <a:pt x="2044154" y="945575"/>
                  <a:pt x="1813609" y="981911"/>
                  <a:pt x="1593713" y="1053329"/>
                </a:cubicBezTo>
                <a:cubicBezTo>
                  <a:pt x="1373192" y="1124748"/>
                  <a:pt x="1165826" y="1230624"/>
                  <a:pt x="977255" y="1367824"/>
                </a:cubicBezTo>
                <a:cubicBezTo>
                  <a:pt x="929016" y="1402907"/>
                  <a:pt x="873885" y="1419821"/>
                  <a:pt x="818128" y="1419821"/>
                </a:cubicBezTo>
                <a:cubicBezTo>
                  <a:pt x="734806" y="1419821"/>
                  <a:pt x="652737" y="1381606"/>
                  <a:pt x="600113" y="1308934"/>
                </a:cubicBezTo>
                <a:cubicBezTo>
                  <a:pt x="513032" y="1188650"/>
                  <a:pt x="539344" y="1020126"/>
                  <a:pt x="659629" y="932418"/>
                </a:cubicBezTo>
                <a:cubicBezTo>
                  <a:pt x="893933" y="762015"/>
                  <a:pt x="1152043" y="629828"/>
                  <a:pt x="1427069" y="540867"/>
                </a:cubicBezTo>
                <a:cubicBezTo>
                  <a:pt x="1701468" y="451907"/>
                  <a:pt x="1987144" y="406800"/>
                  <a:pt x="2277832" y="406800"/>
                </a:cubicBezTo>
                <a:close/>
                <a:moveTo>
                  <a:pt x="4386808" y="157"/>
                </a:moveTo>
                <a:cubicBezTo>
                  <a:pt x="4438677" y="1926"/>
                  <a:pt x="4490567" y="18695"/>
                  <a:pt x="4535674" y="51585"/>
                </a:cubicBezTo>
                <a:cubicBezTo>
                  <a:pt x="4862071" y="289021"/>
                  <a:pt x="5147746" y="574697"/>
                  <a:pt x="5385183" y="901094"/>
                </a:cubicBezTo>
                <a:cubicBezTo>
                  <a:pt x="5472264" y="1021379"/>
                  <a:pt x="5445952" y="1189903"/>
                  <a:pt x="5325667" y="1277610"/>
                </a:cubicBezTo>
                <a:cubicBezTo>
                  <a:pt x="5277428" y="1312693"/>
                  <a:pt x="5222298" y="1328982"/>
                  <a:pt x="5167167" y="1328982"/>
                </a:cubicBezTo>
                <a:cubicBezTo>
                  <a:pt x="5083845" y="1328982"/>
                  <a:pt x="5001776" y="1290766"/>
                  <a:pt x="4949152" y="1218094"/>
                </a:cubicBezTo>
                <a:cubicBezTo>
                  <a:pt x="4744918" y="937430"/>
                  <a:pt x="4499337" y="691849"/>
                  <a:pt x="4218673" y="487616"/>
                </a:cubicBezTo>
                <a:cubicBezTo>
                  <a:pt x="4098389" y="399909"/>
                  <a:pt x="4071450" y="231385"/>
                  <a:pt x="4159157" y="111100"/>
                </a:cubicBezTo>
                <a:cubicBezTo>
                  <a:pt x="4213975" y="35923"/>
                  <a:pt x="4300361" y="-2792"/>
                  <a:pt x="4386808" y="15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F39C392-3AA6-454A-ACEC-B99919DB37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4528" y="1801627"/>
            <a:ext cx="4680000" cy="3254746"/>
          </a:xfrm>
        </p:spPr>
        <p:txBody>
          <a:bodyPr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CC74030-956D-4975-B3D6-F32B8B52C3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427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- White - No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7FFBC-60D0-466B-97A6-EAB5B7AA4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2978" y="1801800"/>
            <a:ext cx="4087036" cy="3254400"/>
          </a:xfrm>
        </p:spPr>
        <p:txBody>
          <a:bodyPr anchor="ctr">
            <a:normAutofit/>
          </a:bodyPr>
          <a:lstStyle>
            <a:lvl1pPr algn="l"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2C6C927-EDD3-4613-97B7-38B973D85F23}"/>
              </a:ext>
            </a:extLst>
          </p:cNvPr>
          <p:cNvGrpSpPr/>
          <p:nvPr userDrawn="1"/>
        </p:nvGrpSpPr>
        <p:grpSpPr>
          <a:xfrm>
            <a:off x="-1025510" y="-433355"/>
            <a:ext cx="8602557" cy="8023022"/>
            <a:chOff x="-1025510" y="-433355"/>
            <a:chExt cx="8602557" cy="8023022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1C12229-99A5-4D7C-A5D3-F0AA3A021CBC}"/>
                </a:ext>
              </a:extLst>
            </p:cNvPr>
            <p:cNvSpPr/>
            <p:nvPr/>
          </p:nvSpPr>
          <p:spPr>
            <a:xfrm>
              <a:off x="899194" y="3676014"/>
              <a:ext cx="3756101" cy="3527201"/>
            </a:xfrm>
            <a:custGeom>
              <a:avLst/>
              <a:gdLst>
                <a:gd name="connsiteX0" fmla="*/ 758384 w 3756101"/>
                <a:gd name="connsiteY0" fmla="*/ 437 h 3527201"/>
                <a:gd name="connsiteX1" fmla="*/ 1163087 w 3756101"/>
                <a:gd name="connsiteY1" fmla="*/ 139498 h 3527201"/>
                <a:gd name="connsiteX2" fmla="*/ 2816836 w 3756101"/>
                <a:gd name="connsiteY2" fmla="*/ 1793247 h 3527201"/>
                <a:gd name="connsiteX3" fmla="*/ 3678093 w 3756101"/>
                <a:gd name="connsiteY3" fmla="*/ 3327751 h 3527201"/>
                <a:gd name="connsiteX4" fmla="*/ 3756101 w 3756101"/>
                <a:gd name="connsiteY4" fmla="*/ 3527201 h 3527201"/>
                <a:gd name="connsiteX5" fmla="*/ 2159308 w 3756101"/>
                <a:gd name="connsiteY5" fmla="*/ 3527201 h 3527201"/>
                <a:gd name="connsiteX6" fmla="*/ 2127703 w 3756101"/>
                <a:gd name="connsiteY6" fmla="*/ 3462114 h 3527201"/>
                <a:gd name="connsiteX7" fmla="*/ 1633153 w 3756101"/>
                <a:gd name="connsiteY7" fmla="*/ 2656742 h 3527201"/>
                <a:gd name="connsiteX8" fmla="*/ 301299 w 3756101"/>
                <a:gd name="connsiteY8" fmla="*/ 1324886 h 3527201"/>
                <a:gd name="connsiteX9" fmla="*/ 139498 w 3756101"/>
                <a:gd name="connsiteY9" fmla="*/ 301298 h 3527201"/>
                <a:gd name="connsiteX10" fmla="*/ 758384 w 3756101"/>
                <a:gd name="connsiteY10" fmla="*/ 437 h 352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6101" h="3527201">
                  <a:moveTo>
                    <a:pt x="758384" y="437"/>
                  </a:moveTo>
                  <a:cubicBezTo>
                    <a:pt x="899393" y="5297"/>
                    <a:pt x="1040461" y="50723"/>
                    <a:pt x="1163087" y="139498"/>
                  </a:cubicBezTo>
                  <a:cubicBezTo>
                    <a:pt x="1798359" y="602755"/>
                    <a:pt x="2355285" y="1157979"/>
                    <a:pt x="2816836" y="1793247"/>
                  </a:cubicBezTo>
                  <a:cubicBezTo>
                    <a:pt x="3164276" y="2270981"/>
                    <a:pt x="3453277" y="2785116"/>
                    <a:pt x="3678093" y="3327751"/>
                  </a:cubicBezTo>
                  <a:lnTo>
                    <a:pt x="3756101" y="3527201"/>
                  </a:lnTo>
                  <a:lnTo>
                    <a:pt x="2159308" y="3527201"/>
                  </a:lnTo>
                  <a:lnTo>
                    <a:pt x="2127703" y="3462114"/>
                  </a:lnTo>
                  <a:cubicBezTo>
                    <a:pt x="1984852" y="3182160"/>
                    <a:pt x="1819647" y="2913064"/>
                    <a:pt x="1633153" y="2656742"/>
                  </a:cubicBezTo>
                  <a:cubicBezTo>
                    <a:pt x="1260165" y="2145799"/>
                    <a:pt x="812239" y="1696170"/>
                    <a:pt x="301299" y="1324886"/>
                  </a:cubicBezTo>
                  <a:cubicBezTo>
                    <a:pt x="-25706" y="1086444"/>
                    <a:pt x="-97237" y="628301"/>
                    <a:pt x="139498" y="301298"/>
                  </a:cubicBezTo>
                  <a:cubicBezTo>
                    <a:pt x="288524" y="96921"/>
                    <a:pt x="523371" y="-7663"/>
                    <a:pt x="758384" y="437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GB"/>
            </a:p>
          </p:txBody>
        </p:sp>
        <p:sp>
          <p:nvSpPr>
            <p:cNvPr id="13" name="Graphic 3">
              <a:extLst>
                <a:ext uri="{FF2B5EF4-FFF2-40B4-BE49-F238E27FC236}">
                  <a16:creationId xmlns:a16="http://schemas.microsoft.com/office/drawing/2014/main" id="{F68CEA47-E296-4DF1-B5F7-B0BCC54FDB54}"/>
                </a:ext>
              </a:extLst>
            </p:cNvPr>
            <p:cNvSpPr/>
            <p:nvPr/>
          </p:nvSpPr>
          <p:spPr>
            <a:xfrm>
              <a:off x="2639804" y="1279695"/>
              <a:ext cx="3612779" cy="3612200"/>
            </a:xfrm>
            <a:custGeom>
              <a:avLst/>
              <a:gdLst>
                <a:gd name="connsiteX0" fmla="*/ 1060810 w 1330788"/>
                <a:gd name="connsiteY0" fmla="*/ 1330576 h 1330575"/>
                <a:gd name="connsiteX1" fmla="*/ 842489 w 1330788"/>
                <a:gd name="connsiteY1" fmla="*/ 1219533 h 1330575"/>
                <a:gd name="connsiteX2" fmla="*/ 110985 w 1330788"/>
                <a:gd name="connsiteY2" fmla="*/ 488029 h 1330575"/>
                <a:gd name="connsiteX3" fmla="*/ 51385 w 1330788"/>
                <a:gd name="connsiteY3" fmla="*/ 110985 h 1330575"/>
                <a:gd name="connsiteX4" fmla="*/ 428430 w 1330788"/>
                <a:gd name="connsiteY4" fmla="*/ 51385 h 1330575"/>
                <a:gd name="connsiteX5" fmla="*/ 1279132 w 1330788"/>
                <a:gd name="connsiteY5" fmla="*/ 902088 h 1330575"/>
                <a:gd name="connsiteX6" fmla="*/ 1219533 w 1330788"/>
                <a:gd name="connsiteY6" fmla="*/ 1279132 h 1330575"/>
                <a:gd name="connsiteX7" fmla="*/ 1060810 w 1330788"/>
                <a:gd name="connsiteY7" fmla="*/ 1330576 h 133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0788" h="1330575">
                  <a:moveTo>
                    <a:pt x="1060810" y="1330576"/>
                  </a:moveTo>
                  <a:cubicBezTo>
                    <a:pt x="977371" y="1330576"/>
                    <a:pt x="895187" y="1292307"/>
                    <a:pt x="842489" y="1219533"/>
                  </a:cubicBezTo>
                  <a:cubicBezTo>
                    <a:pt x="637968" y="938475"/>
                    <a:pt x="392043" y="692549"/>
                    <a:pt x="110985" y="488029"/>
                  </a:cubicBezTo>
                  <a:cubicBezTo>
                    <a:pt x="-9469" y="400198"/>
                    <a:pt x="-35818" y="231438"/>
                    <a:pt x="51385" y="110985"/>
                  </a:cubicBezTo>
                  <a:cubicBezTo>
                    <a:pt x="139216" y="-9469"/>
                    <a:pt x="307976" y="-35818"/>
                    <a:pt x="428430" y="51385"/>
                  </a:cubicBezTo>
                  <a:cubicBezTo>
                    <a:pt x="755285" y="289155"/>
                    <a:pt x="1041362" y="575232"/>
                    <a:pt x="1279132" y="902088"/>
                  </a:cubicBezTo>
                  <a:cubicBezTo>
                    <a:pt x="1366963" y="1022541"/>
                    <a:pt x="1339986" y="1191301"/>
                    <a:pt x="1219533" y="1279132"/>
                  </a:cubicBezTo>
                  <a:cubicBezTo>
                    <a:pt x="1171226" y="1314264"/>
                    <a:pt x="1116018" y="1330576"/>
                    <a:pt x="1060810" y="1330576"/>
                  </a:cubicBezTo>
                  <a:close/>
                </a:path>
              </a:pathLst>
            </a:custGeom>
            <a:solidFill>
              <a:schemeClr val="accent3"/>
            </a:solidFill>
            <a:ln w="6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BEC5702-37FE-4D67-A9B3-DFCDDD76334A}"/>
                </a:ext>
              </a:extLst>
            </p:cNvPr>
            <p:cNvSpPr/>
            <p:nvPr/>
          </p:nvSpPr>
          <p:spPr>
            <a:xfrm>
              <a:off x="-627017" y="-433355"/>
              <a:ext cx="2025780" cy="1798052"/>
            </a:xfrm>
            <a:custGeom>
              <a:avLst/>
              <a:gdLst>
                <a:gd name="connsiteX0" fmla="*/ 0 w 2025780"/>
                <a:gd name="connsiteY0" fmla="*/ 0 h 1798052"/>
                <a:gd name="connsiteX1" fmla="*/ 332048 w 2025780"/>
                <a:gd name="connsiteY1" fmla="*/ 59048 h 1798052"/>
                <a:gd name="connsiteX2" fmla="*/ 1519239 w 2025780"/>
                <a:gd name="connsiteY2" fmla="*/ 369116 h 1798052"/>
                <a:gd name="connsiteX3" fmla="*/ 1989306 w 2025780"/>
                <a:gd name="connsiteY3" fmla="*/ 1292218 h 1798052"/>
                <a:gd name="connsiteX4" fmla="*/ 1292722 w 2025780"/>
                <a:gd name="connsiteY4" fmla="*/ 1798052 h 1798052"/>
                <a:gd name="connsiteX5" fmla="*/ 1066204 w 2025780"/>
                <a:gd name="connsiteY5" fmla="*/ 1762285 h 1798052"/>
                <a:gd name="connsiteX6" fmla="*/ 46307 w 2025780"/>
                <a:gd name="connsiteY6" fmla="*/ 1495806 h 1798052"/>
                <a:gd name="connsiteX7" fmla="*/ 0 w 2025780"/>
                <a:gd name="connsiteY7" fmla="*/ 1487569 h 179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5780" h="1798052">
                  <a:moveTo>
                    <a:pt x="0" y="0"/>
                  </a:moveTo>
                  <a:lnTo>
                    <a:pt x="332048" y="59048"/>
                  </a:lnTo>
                  <a:cubicBezTo>
                    <a:pt x="733347" y="138633"/>
                    <a:pt x="1129646" y="242019"/>
                    <a:pt x="1519239" y="369116"/>
                  </a:cubicBezTo>
                  <a:cubicBezTo>
                    <a:pt x="1904150" y="493446"/>
                    <a:pt x="2115339" y="907307"/>
                    <a:pt x="1989306" y="1292218"/>
                  </a:cubicBezTo>
                  <a:cubicBezTo>
                    <a:pt x="1888822" y="1600487"/>
                    <a:pt x="1600991" y="1798052"/>
                    <a:pt x="1292722" y="1798052"/>
                  </a:cubicBezTo>
                  <a:cubicBezTo>
                    <a:pt x="1217783" y="1798052"/>
                    <a:pt x="1141143" y="1786129"/>
                    <a:pt x="1066204" y="1762285"/>
                  </a:cubicBezTo>
                  <a:cubicBezTo>
                    <a:pt x="731537" y="1653071"/>
                    <a:pt x="391123" y="1564215"/>
                    <a:pt x="46307" y="1495806"/>
                  </a:cubicBezTo>
                  <a:lnTo>
                    <a:pt x="0" y="1487569"/>
                  </a:ln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GB"/>
            </a:p>
          </p:txBody>
        </p:sp>
        <p:sp>
          <p:nvSpPr>
            <p:cNvPr id="19" name="Graphic 3">
              <a:extLst>
                <a:ext uri="{FF2B5EF4-FFF2-40B4-BE49-F238E27FC236}">
                  <a16:creationId xmlns:a16="http://schemas.microsoft.com/office/drawing/2014/main" id="{010C705F-31A1-4877-A0D2-586CD622F66E}"/>
                </a:ext>
              </a:extLst>
            </p:cNvPr>
            <p:cNvSpPr/>
            <p:nvPr/>
          </p:nvSpPr>
          <p:spPr>
            <a:xfrm>
              <a:off x="6112349" y="6124969"/>
              <a:ext cx="1464698" cy="1464698"/>
            </a:xfrm>
            <a:custGeom>
              <a:avLst/>
              <a:gdLst>
                <a:gd name="connsiteX0" fmla="*/ 539531 w 539530"/>
                <a:gd name="connsiteY0" fmla="*/ 269765 h 539530"/>
                <a:gd name="connsiteX1" fmla="*/ 269765 w 539530"/>
                <a:gd name="connsiteY1" fmla="*/ 539531 h 539530"/>
                <a:gd name="connsiteX2" fmla="*/ 0 w 539530"/>
                <a:gd name="connsiteY2" fmla="*/ 269765 h 539530"/>
                <a:gd name="connsiteX3" fmla="*/ 269765 w 539530"/>
                <a:gd name="connsiteY3" fmla="*/ 0 h 539530"/>
                <a:gd name="connsiteX4" fmla="*/ 539531 w 539530"/>
                <a:gd name="connsiteY4" fmla="*/ 269765 h 53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530" h="539530">
                  <a:moveTo>
                    <a:pt x="539531" y="269765"/>
                  </a:moveTo>
                  <a:cubicBezTo>
                    <a:pt x="539531" y="418753"/>
                    <a:pt x="418753" y="539531"/>
                    <a:pt x="269765" y="539531"/>
                  </a:cubicBezTo>
                  <a:cubicBezTo>
                    <a:pt x="120778" y="539531"/>
                    <a:pt x="0" y="418753"/>
                    <a:pt x="0" y="269765"/>
                  </a:cubicBezTo>
                  <a:cubicBezTo>
                    <a:pt x="0" y="120778"/>
                    <a:pt x="120778" y="0"/>
                    <a:pt x="269765" y="0"/>
                  </a:cubicBezTo>
                  <a:cubicBezTo>
                    <a:pt x="418753" y="0"/>
                    <a:pt x="539531" y="120778"/>
                    <a:pt x="539531" y="269765"/>
                  </a:cubicBezTo>
                  <a:close/>
                </a:path>
              </a:pathLst>
            </a:custGeom>
            <a:solidFill>
              <a:schemeClr val="tx2"/>
            </a:solidFill>
            <a:ln w="6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Graphic 3">
              <a:extLst>
                <a:ext uri="{FF2B5EF4-FFF2-40B4-BE49-F238E27FC236}">
                  <a16:creationId xmlns:a16="http://schemas.microsoft.com/office/drawing/2014/main" id="{C6A9F54E-EC27-4547-ABCD-B15C697DA52D}"/>
                </a:ext>
              </a:extLst>
            </p:cNvPr>
            <p:cNvSpPr/>
            <p:nvPr/>
          </p:nvSpPr>
          <p:spPr>
            <a:xfrm>
              <a:off x="-1025510" y="2734017"/>
              <a:ext cx="1464698" cy="1464698"/>
            </a:xfrm>
            <a:custGeom>
              <a:avLst/>
              <a:gdLst>
                <a:gd name="connsiteX0" fmla="*/ 539531 w 539530"/>
                <a:gd name="connsiteY0" fmla="*/ 269765 h 539530"/>
                <a:gd name="connsiteX1" fmla="*/ 269766 w 539530"/>
                <a:gd name="connsiteY1" fmla="*/ 539531 h 539530"/>
                <a:gd name="connsiteX2" fmla="*/ 0 w 539530"/>
                <a:gd name="connsiteY2" fmla="*/ 269766 h 539530"/>
                <a:gd name="connsiteX3" fmla="*/ 269766 w 539530"/>
                <a:gd name="connsiteY3" fmla="*/ 0 h 539530"/>
                <a:gd name="connsiteX4" fmla="*/ 539531 w 539530"/>
                <a:gd name="connsiteY4" fmla="*/ 269765 h 53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530" h="539530">
                  <a:moveTo>
                    <a:pt x="539531" y="269765"/>
                  </a:moveTo>
                  <a:cubicBezTo>
                    <a:pt x="539531" y="418753"/>
                    <a:pt x="418753" y="539531"/>
                    <a:pt x="269766" y="539531"/>
                  </a:cubicBezTo>
                  <a:cubicBezTo>
                    <a:pt x="120778" y="539531"/>
                    <a:pt x="0" y="418753"/>
                    <a:pt x="0" y="269766"/>
                  </a:cubicBezTo>
                  <a:cubicBezTo>
                    <a:pt x="0" y="120778"/>
                    <a:pt x="120778" y="0"/>
                    <a:pt x="269766" y="0"/>
                  </a:cubicBezTo>
                  <a:cubicBezTo>
                    <a:pt x="418753" y="0"/>
                    <a:pt x="539531" y="120778"/>
                    <a:pt x="539531" y="269765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376343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- Color -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7FFBC-60D0-466B-97A6-EAB5B7AA4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2978" y="1801800"/>
            <a:ext cx="4087036" cy="3254400"/>
          </a:xfrm>
        </p:spPr>
        <p:txBody>
          <a:bodyPr anchor="ctr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55C93D6-5A00-40CE-9641-15739831F1F1}"/>
              </a:ext>
            </a:extLst>
          </p:cNvPr>
          <p:cNvGrpSpPr/>
          <p:nvPr userDrawn="1"/>
        </p:nvGrpSpPr>
        <p:grpSpPr>
          <a:xfrm>
            <a:off x="-1025510" y="-433355"/>
            <a:ext cx="8602557" cy="8023022"/>
            <a:chOff x="-1025510" y="-433355"/>
            <a:chExt cx="8602557" cy="8023022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CBD0322-0795-4953-B51C-E997B64CF2E7}"/>
                </a:ext>
              </a:extLst>
            </p:cNvPr>
            <p:cNvSpPr/>
            <p:nvPr/>
          </p:nvSpPr>
          <p:spPr>
            <a:xfrm>
              <a:off x="899194" y="3676014"/>
              <a:ext cx="3756101" cy="3527201"/>
            </a:xfrm>
            <a:custGeom>
              <a:avLst/>
              <a:gdLst>
                <a:gd name="connsiteX0" fmla="*/ 758384 w 3756101"/>
                <a:gd name="connsiteY0" fmla="*/ 437 h 3527201"/>
                <a:gd name="connsiteX1" fmla="*/ 1163087 w 3756101"/>
                <a:gd name="connsiteY1" fmla="*/ 139498 h 3527201"/>
                <a:gd name="connsiteX2" fmla="*/ 2816836 w 3756101"/>
                <a:gd name="connsiteY2" fmla="*/ 1793247 h 3527201"/>
                <a:gd name="connsiteX3" fmla="*/ 3678093 w 3756101"/>
                <a:gd name="connsiteY3" fmla="*/ 3327751 h 3527201"/>
                <a:gd name="connsiteX4" fmla="*/ 3756101 w 3756101"/>
                <a:gd name="connsiteY4" fmla="*/ 3527201 h 3527201"/>
                <a:gd name="connsiteX5" fmla="*/ 2159308 w 3756101"/>
                <a:gd name="connsiteY5" fmla="*/ 3527201 h 3527201"/>
                <a:gd name="connsiteX6" fmla="*/ 2127703 w 3756101"/>
                <a:gd name="connsiteY6" fmla="*/ 3462114 h 3527201"/>
                <a:gd name="connsiteX7" fmla="*/ 1633153 w 3756101"/>
                <a:gd name="connsiteY7" fmla="*/ 2656742 h 3527201"/>
                <a:gd name="connsiteX8" fmla="*/ 301299 w 3756101"/>
                <a:gd name="connsiteY8" fmla="*/ 1324886 h 3527201"/>
                <a:gd name="connsiteX9" fmla="*/ 139498 w 3756101"/>
                <a:gd name="connsiteY9" fmla="*/ 301298 h 3527201"/>
                <a:gd name="connsiteX10" fmla="*/ 758384 w 3756101"/>
                <a:gd name="connsiteY10" fmla="*/ 437 h 352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6101" h="3527201">
                  <a:moveTo>
                    <a:pt x="758384" y="437"/>
                  </a:moveTo>
                  <a:cubicBezTo>
                    <a:pt x="899393" y="5297"/>
                    <a:pt x="1040461" y="50723"/>
                    <a:pt x="1163087" y="139498"/>
                  </a:cubicBezTo>
                  <a:cubicBezTo>
                    <a:pt x="1798359" y="602755"/>
                    <a:pt x="2355285" y="1157979"/>
                    <a:pt x="2816836" y="1793247"/>
                  </a:cubicBezTo>
                  <a:cubicBezTo>
                    <a:pt x="3164276" y="2270981"/>
                    <a:pt x="3453277" y="2785116"/>
                    <a:pt x="3678093" y="3327751"/>
                  </a:cubicBezTo>
                  <a:lnTo>
                    <a:pt x="3756101" y="3527201"/>
                  </a:lnTo>
                  <a:lnTo>
                    <a:pt x="2159308" y="3527201"/>
                  </a:lnTo>
                  <a:lnTo>
                    <a:pt x="2127703" y="3462114"/>
                  </a:lnTo>
                  <a:cubicBezTo>
                    <a:pt x="1984852" y="3182160"/>
                    <a:pt x="1819647" y="2913064"/>
                    <a:pt x="1633153" y="2656742"/>
                  </a:cubicBezTo>
                  <a:cubicBezTo>
                    <a:pt x="1260165" y="2145799"/>
                    <a:pt x="812239" y="1696170"/>
                    <a:pt x="301299" y="1324886"/>
                  </a:cubicBezTo>
                  <a:cubicBezTo>
                    <a:pt x="-25706" y="1086444"/>
                    <a:pt x="-97237" y="628301"/>
                    <a:pt x="139498" y="301298"/>
                  </a:cubicBezTo>
                  <a:cubicBezTo>
                    <a:pt x="288524" y="96921"/>
                    <a:pt x="523371" y="-7663"/>
                    <a:pt x="758384" y="437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969F4BC4-4645-42C5-AB7D-AB2259789538}"/>
                </a:ext>
              </a:extLst>
            </p:cNvPr>
            <p:cNvSpPr/>
            <p:nvPr/>
          </p:nvSpPr>
          <p:spPr>
            <a:xfrm>
              <a:off x="2639804" y="1279695"/>
              <a:ext cx="3612779" cy="3612200"/>
            </a:xfrm>
            <a:custGeom>
              <a:avLst/>
              <a:gdLst>
                <a:gd name="connsiteX0" fmla="*/ 1060810 w 1330788"/>
                <a:gd name="connsiteY0" fmla="*/ 1330576 h 1330575"/>
                <a:gd name="connsiteX1" fmla="*/ 842489 w 1330788"/>
                <a:gd name="connsiteY1" fmla="*/ 1219533 h 1330575"/>
                <a:gd name="connsiteX2" fmla="*/ 110985 w 1330788"/>
                <a:gd name="connsiteY2" fmla="*/ 488029 h 1330575"/>
                <a:gd name="connsiteX3" fmla="*/ 51385 w 1330788"/>
                <a:gd name="connsiteY3" fmla="*/ 110985 h 1330575"/>
                <a:gd name="connsiteX4" fmla="*/ 428430 w 1330788"/>
                <a:gd name="connsiteY4" fmla="*/ 51385 h 1330575"/>
                <a:gd name="connsiteX5" fmla="*/ 1279132 w 1330788"/>
                <a:gd name="connsiteY5" fmla="*/ 902088 h 1330575"/>
                <a:gd name="connsiteX6" fmla="*/ 1219533 w 1330788"/>
                <a:gd name="connsiteY6" fmla="*/ 1279132 h 1330575"/>
                <a:gd name="connsiteX7" fmla="*/ 1060810 w 1330788"/>
                <a:gd name="connsiteY7" fmla="*/ 1330576 h 133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0788" h="1330575">
                  <a:moveTo>
                    <a:pt x="1060810" y="1330576"/>
                  </a:moveTo>
                  <a:cubicBezTo>
                    <a:pt x="977371" y="1330576"/>
                    <a:pt x="895187" y="1292307"/>
                    <a:pt x="842489" y="1219533"/>
                  </a:cubicBezTo>
                  <a:cubicBezTo>
                    <a:pt x="637968" y="938475"/>
                    <a:pt x="392043" y="692549"/>
                    <a:pt x="110985" y="488029"/>
                  </a:cubicBezTo>
                  <a:cubicBezTo>
                    <a:pt x="-9469" y="400198"/>
                    <a:pt x="-35818" y="231438"/>
                    <a:pt x="51385" y="110985"/>
                  </a:cubicBezTo>
                  <a:cubicBezTo>
                    <a:pt x="139216" y="-9469"/>
                    <a:pt x="307976" y="-35818"/>
                    <a:pt x="428430" y="51385"/>
                  </a:cubicBezTo>
                  <a:cubicBezTo>
                    <a:pt x="755285" y="289155"/>
                    <a:pt x="1041362" y="575232"/>
                    <a:pt x="1279132" y="902088"/>
                  </a:cubicBezTo>
                  <a:cubicBezTo>
                    <a:pt x="1366963" y="1022541"/>
                    <a:pt x="1339986" y="1191301"/>
                    <a:pt x="1219533" y="1279132"/>
                  </a:cubicBezTo>
                  <a:cubicBezTo>
                    <a:pt x="1171226" y="1314264"/>
                    <a:pt x="1116018" y="1330576"/>
                    <a:pt x="1060810" y="1330576"/>
                  </a:cubicBezTo>
                  <a:close/>
                </a:path>
              </a:pathLst>
            </a:custGeom>
            <a:solidFill>
              <a:schemeClr val="bg1"/>
            </a:solidFill>
            <a:ln w="6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9DFB823-7931-4449-B04C-246A603A5C20}"/>
                </a:ext>
              </a:extLst>
            </p:cNvPr>
            <p:cNvSpPr/>
            <p:nvPr/>
          </p:nvSpPr>
          <p:spPr>
            <a:xfrm>
              <a:off x="-627017" y="-433355"/>
              <a:ext cx="2025780" cy="1798052"/>
            </a:xfrm>
            <a:custGeom>
              <a:avLst/>
              <a:gdLst>
                <a:gd name="connsiteX0" fmla="*/ 0 w 2025780"/>
                <a:gd name="connsiteY0" fmla="*/ 0 h 1798052"/>
                <a:gd name="connsiteX1" fmla="*/ 332048 w 2025780"/>
                <a:gd name="connsiteY1" fmla="*/ 59048 h 1798052"/>
                <a:gd name="connsiteX2" fmla="*/ 1519239 w 2025780"/>
                <a:gd name="connsiteY2" fmla="*/ 369116 h 1798052"/>
                <a:gd name="connsiteX3" fmla="*/ 1989306 w 2025780"/>
                <a:gd name="connsiteY3" fmla="*/ 1292218 h 1798052"/>
                <a:gd name="connsiteX4" fmla="*/ 1292722 w 2025780"/>
                <a:gd name="connsiteY4" fmla="*/ 1798052 h 1798052"/>
                <a:gd name="connsiteX5" fmla="*/ 1066204 w 2025780"/>
                <a:gd name="connsiteY5" fmla="*/ 1762285 h 1798052"/>
                <a:gd name="connsiteX6" fmla="*/ 46307 w 2025780"/>
                <a:gd name="connsiteY6" fmla="*/ 1495806 h 1798052"/>
                <a:gd name="connsiteX7" fmla="*/ 0 w 2025780"/>
                <a:gd name="connsiteY7" fmla="*/ 1487569 h 179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5780" h="1798052">
                  <a:moveTo>
                    <a:pt x="0" y="0"/>
                  </a:moveTo>
                  <a:lnTo>
                    <a:pt x="332048" y="59048"/>
                  </a:lnTo>
                  <a:cubicBezTo>
                    <a:pt x="733347" y="138633"/>
                    <a:pt x="1129646" y="242019"/>
                    <a:pt x="1519239" y="369116"/>
                  </a:cubicBezTo>
                  <a:cubicBezTo>
                    <a:pt x="1904150" y="493446"/>
                    <a:pt x="2115339" y="907307"/>
                    <a:pt x="1989306" y="1292218"/>
                  </a:cubicBezTo>
                  <a:cubicBezTo>
                    <a:pt x="1888822" y="1600487"/>
                    <a:pt x="1600991" y="1798052"/>
                    <a:pt x="1292722" y="1798052"/>
                  </a:cubicBezTo>
                  <a:cubicBezTo>
                    <a:pt x="1217783" y="1798052"/>
                    <a:pt x="1141143" y="1786129"/>
                    <a:pt x="1066204" y="1762285"/>
                  </a:cubicBezTo>
                  <a:cubicBezTo>
                    <a:pt x="731537" y="1653071"/>
                    <a:pt x="391123" y="1564215"/>
                    <a:pt x="46307" y="1495806"/>
                  </a:cubicBezTo>
                  <a:lnTo>
                    <a:pt x="0" y="1487569"/>
                  </a:ln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GB"/>
            </a:p>
          </p:txBody>
        </p:sp>
        <p:sp>
          <p:nvSpPr>
            <p:cNvPr id="34" name="Graphic 3">
              <a:extLst>
                <a:ext uri="{FF2B5EF4-FFF2-40B4-BE49-F238E27FC236}">
                  <a16:creationId xmlns:a16="http://schemas.microsoft.com/office/drawing/2014/main" id="{809626EF-E7CE-4811-940F-78B57989168B}"/>
                </a:ext>
              </a:extLst>
            </p:cNvPr>
            <p:cNvSpPr/>
            <p:nvPr/>
          </p:nvSpPr>
          <p:spPr>
            <a:xfrm>
              <a:off x="6112349" y="6124969"/>
              <a:ext cx="1464698" cy="1464698"/>
            </a:xfrm>
            <a:custGeom>
              <a:avLst/>
              <a:gdLst>
                <a:gd name="connsiteX0" fmla="*/ 539531 w 539530"/>
                <a:gd name="connsiteY0" fmla="*/ 269765 h 539530"/>
                <a:gd name="connsiteX1" fmla="*/ 269765 w 539530"/>
                <a:gd name="connsiteY1" fmla="*/ 539531 h 539530"/>
                <a:gd name="connsiteX2" fmla="*/ 0 w 539530"/>
                <a:gd name="connsiteY2" fmla="*/ 269765 h 539530"/>
                <a:gd name="connsiteX3" fmla="*/ 269765 w 539530"/>
                <a:gd name="connsiteY3" fmla="*/ 0 h 539530"/>
                <a:gd name="connsiteX4" fmla="*/ 539531 w 539530"/>
                <a:gd name="connsiteY4" fmla="*/ 269765 h 53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530" h="539530">
                  <a:moveTo>
                    <a:pt x="539531" y="269765"/>
                  </a:moveTo>
                  <a:cubicBezTo>
                    <a:pt x="539531" y="418753"/>
                    <a:pt x="418753" y="539531"/>
                    <a:pt x="269765" y="539531"/>
                  </a:cubicBezTo>
                  <a:cubicBezTo>
                    <a:pt x="120778" y="539531"/>
                    <a:pt x="0" y="418753"/>
                    <a:pt x="0" y="269765"/>
                  </a:cubicBezTo>
                  <a:cubicBezTo>
                    <a:pt x="0" y="120778"/>
                    <a:pt x="120778" y="0"/>
                    <a:pt x="269765" y="0"/>
                  </a:cubicBezTo>
                  <a:cubicBezTo>
                    <a:pt x="418753" y="0"/>
                    <a:pt x="539531" y="120778"/>
                    <a:pt x="539531" y="269765"/>
                  </a:cubicBezTo>
                  <a:close/>
                </a:path>
              </a:pathLst>
            </a:custGeom>
            <a:solidFill>
              <a:schemeClr val="tx1"/>
            </a:solidFill>
            <a:ln w="62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Graphic 3">
              <a:extLst>
                <a:ext uri="{FF2B5EF4-FFF2-40B4-BE49-F238E27FC236}">
                  <a16:creationId xmlns:a16="http://schemas.microsoft.com/office/drawing/2014/main" id="{7003A8FB-DE4C-45A4-9E23-BD5796D2F074}"/>
                </a:ext>
              </a:extLst>
            </p:cNvPr>
            <p:cNvSpPr/>
            <p:nvPr/>
          </p:nvSpPr>
          <p:spPr>
            <a:xfrm>
              <a:off x="-1025510" y="2734017"/>
              <a:ext cx="1464698" cy="1464698"/>
            </a:xfrm>
            <a:custGeom>
              <a:avLst/>
              <a:gdLst>
                <a:gd name="connsiteX0" fmla="*/ 539531 w 539530"/>
                <a:gd name="connsiteY0" fmla="*/ 269765 h 539530"/>
                <a:gd name="connsiteX1" fmla="*/ 269766 w 539530"/>
                <a:gd name="connsiteY1" fmla="*/ 539531 h 539530"/>
                <a:gd name="connsiteX2" fmla="*/ 0 w 539530"/>
                <a:gd name="connsiteY2" fmla="*/ 269766 h 539530"/>
                <a:gd name="connsiteX3" fmla="*/ 269766 w 539530"/>
                <a:gd name="connsiteY3" fmla="*/ 0 h 539530"/>
                <a:gd name="connsiteX4" fmla="*/ 539531 w 539530"/>
                <a:gd name="connsiteY4" fmla="*/ 269765 h 53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530" h="539530">
                  <a:moveTo>
                    <a:pt x="539531" y="269765"/>
                  </a:moveTo>
                  <a:cubicBezTo>
                    <a:pt x="539531" y="418753"/>
                    <a:pt x="418753" y="539531"/>
                    <a:pt x="269766" y="539531"/>
                  </a:cubicBezTo>
                  <a:cubicBezTo>
                    <a:pt x="120778" y="539531"/>
                    <a:pt x="0" y="418753"/>
                    <a:pt x="0" y="269766"/>
                  </a:cubicBezTo>
                  <a:cubicBezTo>
                    <a:pt x="0" y="120778"/>
                    <a:pt x="120778" y="0"/>
                    <a:pt x="269766" y="0"/>
                  </a:cubicBezTo>
                  <a:cubicBezTo>
                    <a:pt x="418753" y="0"/>
                    <a:pt x="539531" y="120778"/>
                    <a:pt x="539531" y="269765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364EEE9D-066D-488B-8C80-4D61C9A226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3470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3" y="1425570"/>
            <a:ext cx="10208027" cy="488955"/>
          </a:xfrm>
        </p:spPr>
        <p:txBody>
          <a:bodyPr/>
          <a:lstStyle>
            <a:lvl1pPr algn="l">
              <a:defRPr b="0"/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1C9C7C17-F662-45FB-A067-D49A47713F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224B7B-73C4-44DD-9F04-4A8D09F93CB2}"/>
              </a:ext>
            </a:extLst>
          </p:cNvPr>
          <p:cNvSpPr txBox="1"/>
          <p:nvPr userDrawn="1"/>
        </p:nvSpPr>
        <p:spPr>
          <a:xfrm>
            <a:off x="358434" y="6223184"/>
            <a:ext cx="498816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  <a:ea typeface="Hurme FIN Mono 1a Bold" panose="020B0609030202010107" pitchFamily="49" charset="0"/>
              </a:rPr>
              <a:pPr algn="ctr"/>
              <a:t>‹N°›</a:t>
            </a:fld>
            <a:r>
              <a:rPr lang="en-GB" sz="1000" b="1" dirty="0">
                <a:solidFill>
                  <a:schemeClr val="tx1"/>
                </a:solidFill>
                <a:latin typeface="HurmeGeometricSans1 Regular" panose="020B0500020000000000" pitchFamily="34" charset="0"/>
                <a:ea typeface="Hurme FIN Mono 1a Bold" panose="020B0609030202010107" pitchFamily="49" charset="0"/>
              </a:rPr>
              <a:t>/3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190750"/>
            <a:ext cx="10198100" cy="3670300"/>
          </a:xfrm>
        </p:spPr>
        <p:txBody>
          <a:bodyPr>
            <a:noAutofit/>
          </a:bodyPr>
          <a:lstStyle>
            <a:lvl1pPr algn="l">
              <a:defRPr sz="1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4044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3" y="1425570"/>
            <a:ext cx="10208027" cy="488955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190750"/>
            <a:ext cx="10198100" cy="3670300"/>
          </a:xfrm>
        </p:spPr>
        <p:txBody>
          <a:bodyPr>
            <a:norm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C679A471-F618-4BDA-ACBF-655210E3CD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3717EF-F391-4436-8A53-A8ED4FB9176D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0DED63E-9ED5-41B7-BA36-D7FCCD7E61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1874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aphic 26">
            <a:extLst>
              <a:ext uri="{FF2B5EF4-FFF2-40B4-BE49-F238E27FC236}">
                <a16:creationId xmlns:a16="http://schemas.microsoft.com/office/drawing/2014/main" id="{194F408F-C0E8-4DD5-AE6B-2110D73B1379}"/>
              </a:ext>
            </a:extLst>
          </p:cNvPr>
          <p:cNvGrpSpPr/>
          <p:nvPr/>
        </p:nvGrpSpPr>
        <p:grpSpPr>
          <a:xfrm>
            <a:off x="-362752" y="-3026588"/>
            <a:ext cx="12914710" cy="12914078"/>
            <a:chOff x="-362752" y="-3026588"/>
            <a:chExt cx="12914710" cy="12914078"/>
          </a:xfrm>
        </p:grpSpPr>
        <p:sp>
          <p:nvSpPr>
            <p:cNvPr id="31" name="Graphic 26">
              <a:extLst>
                <a:ext uri="{FF2B5EF4-FFF2-40B4-BE49-F238E27FC236}">
                  <a16:creationId xmlns:a16="http://schemas.microsoft.com/office/drawing/2014/main" id="{C7392C0A-E67E-437F-8935-CDB7758B0170}"/>
                </a:ext>
              </a:extLst>
            </p:cNvPr>
            <p:cNvSpPr/>
            <p:nvPr/>
          </p:nvSpPr>
          <p:spPr>
            <a:xfrm>
              <a:off x="3371348" y="6019516"/>
              <a:ext cx="5020687" cy="1481312"/>
            </a:xfrm>
            <a:custGeom>
              <a:avLst/>
              <a:gdLst>
                <a:gd name="connsiteX0" fmla="*/ 3707560 w 5020687"/>
                <a:gd name="connsiteY0" fmla="*/ 1359467 h 1481312"/>
                <a:gd name="connsiteX1" fmla="*/ 2439210 w 5020687"/>
                <a:gd name="connsiteY1" fmla="*/ 1471493 h 1481312"/>
                <a:gd name="connsiteX2" fmla="*/ 1198076 w 5020687"/>
                <a:gd name="connsiteY2" fmla="*/ 1184152 h 1481312"/>
                <a:gd name="connsiteX3" fmla="*/ 106941 w 5020687"/>
                <a:gd name="connsiteY3" fmla="*/ 528459 h 1481312"/>
                <a:gd name="connsiteX4" fmla="*/ 69599 w 5020687"/>
                <a:gd name="connsiteY4" fmla="*/ 106941 h 1481312"/>
                <a:gd name="connsiteX5" fmla="*/ 491116 w 5020687"/>
                <a:gd name="connsiteY5" fmla="*/ 69600 h 1481312"/>
                <a:gd name="connsiteX6" fmla="*/ 1422758 w 5020687"/>
                <a:gd name="connsiteY6" fmla="*/ 629090 h 1481312"/>
                <a:gd name="connsiteX7" fmla="*/ 2480982 w 5020687"/>
                <a:gd name="connsiteY7" fmla="*/ 874027 h 1481312"/>
                <a:gd name="connsiteX8" fmla="*/ 3563256 w 5020687"/>
                <a:gd name="connsiteY8" fmla="*/ 778458 h 1481312"/>
                <a:gd name="connsiteX9" fmla="*/ 4563252 w 5020687"/>
                <a:gd name="connsiteY9" fmla="*/ 355041 h 1481312"/>
                <a:gd name="connsiteX10" fmla="*/ 4975276 w 5020687"/>
                <a:gd name="connsiteY10" fmla="*/ 449978 h 1481312"/>
                <a:gd name="connsiteX11" fmla="*/ 4880339 w 5020687"/>
                <a:gd name="connsiteY11" fmla="*/ 862001 h 1481312"/>
                <a:gd name="connsiteX12" fmla="*/ 3707560 w 5020687"/>
                <a:gd name="connsiteY12" fmla="*/ 1359467 h 1481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0687" h="1481312">
                  <a:moveTo>
                    <a:pt x="3707560" y="1359467"/>
                  </a:moveTo>
                  <a:cubicBezTo>
                    <a:pt x="3290472" y="1463265"/>
                    <a:pt x="2863892" y="1501239"/>
                    <a:pt x="2439210" y="1471493"/>
                  </a:cubicBezTo>
                  <a:cubicBezTo>
                    <a:pt x="2013262" y="1441746"/>
                    <a:pt x="1595542" y="1344911"/>
                    <a:pt x="1198076" y="1184152"/>
                  </a:cubicBezTo>
                  <a:cubicBezTo>
                    <a:pt x="801875" y="1023393"/>
                    <a:pt x="434788" y="803140"/>
                    <a:pt x="106941" y="528459"/>
                  </a:cubicBezTo>
                  <a:cubicBezTo>
                    <a:pt x="-19641" y="422129"/>
                    <a:pt x="-36097" y="233522"/>
                    <a:pt x="69599" y="106941"/>
                  </a:cubicBezTo>
                  <a:cubicBezTo>
                    <a:pt x="175928" y="-19641"/>
                    <a:pt x="364534" y="-36097"/>
                    <a:pt x="491116" y="69600"/>
                  </a:cubicBezTo>
                  <a:cubicBezTo>
                    <a:pt x="770862" y="303776"/>
                    <a:pt x="1084152" y="492382"/>
                    <a:pt x="1422758" y="629090"/>
                  </a:cubicBezTo>
                  <a:cubicBezTo>
                    <a:pt x="1761364" y="766432"/>
                    <a:pt x="2117692" y="848710"/>
                    <a:pt x="2480982" y="874027"/>
                  </a:cubicBezTo>
                  <a:cubicBezTo>
                    <a:pt x="2843005" y="899343"/>
                    <a:pt x="3206928" y="867065"/>
                    <a:pt x="3563256" y="778458"/>
                  </a:cubicBezTo>
                  <a:cubicBezTo>
                    <a:pt x="3918951" y="689850"/>
                    <a:pt x="4255659" y="547446"/>
                    <a:pt x="4563252" y="355041"/>
                  </a:cubicBezTo>
                  <a:cubicBezTo>
                    <a:pt x="4703125" y="267700"/>
                    <a:pt x="4887935" y="310105"/>
                    <a:pt x="4975276" y="449978"/>
                  </a:cubicBezTo>
                  <a:cubicBezTo>
                    <a:pt x="5062617" y="589850"/>
                    <a:pt x="5020212" y="774659"/>
                    <a:pt x="4880339" y="862001"/>
                  </a:cubicBezTo>
                  <a:cubicBezTo>
                    <a:pt x="4518949" y="1088583"/>
                    <a:pt x="4124013" y="1255670"/>
                    <a:pt x="3707560" y="1359467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26">
              <a:extLst>
                <a:ext uri="{FF2B5EF4-FFF2-40B4-BE49-F238E27FC236}">
                  <a16:creationId xmlns:a16="http://schemas.microsoft.com/office/drawing/2014/main" id="{4A9F640C-7021-44B7-9793-0316137488CC}"/>
                </a:ext>
              </a:extLst>
            </p:cNvPr>
            <p:cNvSpPr/>
            <p:nvPr/>
          </p:nvSpPr>
          <p:spPr>
            <a:xfrm>
              <a:off x="2906793" y="-640297"/>
              <a:ext cx="4899739" cy="1945900"/>
            </a:xfrm>
            <a:custGeom>
              <a:avLst/>
              <a:gdLst>
                <a:gd name="connsiteX0" fmla="*/ 371497 w 4899739"/>
                <a:gd name="connsiteY0" fmla="*/ 1937027 h 1945900"/>
                <a:gd name="connsiteX1" fmla="*/ 106941 w 4899739"/>
                <a:gd name="connsiteY1" fmla="*/ 1876268 h 1945900"/>
                <a:gd name="connsiteX2" fmla="*/ 69599 w 4899739"/>
                <a:gd name="connsiteY2" fmla="*/ 1454751 h 1945900"/>
                <a:gd name="connsiteX3" fmla="*/ 1030355 w 4899739"/>
                <a:gd name="connsiteY3" fmla="*/ 618678 h 1945900"/>
                <a:gd name="connsiteX4" fmla="*/ 2203135 w 4899739"/>
                <a:gd name="connsiteY4" fmla="*/ 121845 h 1945900"/>
                <a:gd name="connsiteX5" fmla="*/ 3471484 w 4899739"/>
                <a:gd name="connsiteY5" fmla="*/ 9820 h 1945900"/>
                <a:gd name="connsiteX6" fmla="*/ 4712618 w 4899739"/>
                <a:gd name="connsiteY6" fmla="*/ 297161 h 1945900"/>
                <a:gd name="connsiteX7" fmla="*/ 4877808 w 4899739"/>
                <a:gd name="connsiteY7" fmla="*/ 686400 h 1945900"/>
                <a:gd name="connsiteX8" fmla="*/ 4488569 w 4899739"/>
                <a:gd name="connsiteY8" fmla="*/ 851589 h 1945900"/>
                <a:gd name="connsiteX9" fmla="*/ 3430345 w 4899739"/>
                <a:gd name="connsiteY9" fmla="*/ 606653 h 1945900"/>
                <a:gd name="connsiteX10" fmla="*/ 2348071 w 4899739"/>
                <a:gd name="connsiteY10" fmla="*/ 702222 h 1945900"/>
                <a:gd name="connsiteX11" fmla="*/ 1347442 w 4899739"/>
                <a:gd name="connsiteY11" fmla="*/ 1125639 h 1945900"/>
                <a:gd name="connsiteX12" fmla="*/ 528458 w 4899739"/>
                <a:gd name="connsiteY12" fmla="*/ 1838927 h 1945900"/>
                <a:gd name="connsiteX13" fmla="*/ 371497 w 4899739"/>
                <a:gd name="connsiteY13" fmla="*/ 1937027 h 194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99739" h="1945900">
                  <a:moveTo>
                    <a:pt x="371497" y="1937027"/>
                  </a:moveTo>
                  <a:cubicBezTo>
                    <a:pt x="281623" y="1959179"/>
                    <a:pt x="182890" y="1940192"/>
                    <a:pt x="106941" y="1876268"/>
                  </a:cubicBezTo>
                  <a:cubicBezTo>
                    <a:pt x="-19641" y="1769940"/>
                    <a:pt x="-36097" y="1581333"/>
                    <a:pt x="69599" y="1454751"/>
                  </a:cubicBezTo>
                  <a:cubicBezTo>
                    <a:pt x="344914" y="1126271"/>
                    <a:pt x="668331" y="844627"/>
                    <a:pt x="1030355" y="618678"/>
                  </a:cubicBezTo>
                  <a:cubicBezTo>
                    <a:pt x="1391746" y="393363"/>
                    <a:pt x="1786048" y="226275"/>
                    <a:pt x="2203135" y="121845"/>
                  </a:cubicBezTo>
                  <a:cubicBezTo>
                    <a:pt x="2620222" y="18048"/>
                    <a:pt x="3046803" y="-19927"/>
                    <a:pt x="3471484" y="9820"/>
                  </a:cubicBezTo>
                  <a:cubicBezTo>
                    <a:pt x="3897432" y="39567"/>
                    <a:pt x="4315152" y="136402"/>
                    <a:pt x="4712618" y="297161"/>
                  </a:cubicBezTo>
                  <a:cubicBezTo>
                    <a:pt x="4865783" y="359186"/>
                    <a:pt x="4939833" y="533869"/>
                    <a:pt x="4877808" y="686400"/>
                  </a:cubicBezTo>
                  <a:cubicBezTo>
                    <a:pt x="4815783" y="839564"/>
                    <a:pt x="4641100" y="913614"/>
                    <a:pt x="4488569" y="851589"/>
                  </a:cubicBezTo>
                  <a:cubicBezTo>
                    <a:pt x="4149963" y="714248"/>
                    <a:pt x="3793635" y="631969"/>
                    <a:pt x="3430345" y="606653"/>
                  </a:cubicBezTo>
                  <a:cubicBezTo>
                    <a:pt x="3068322" y="581337"/>
                    <a:pt x="2704399" y="613615"/>
                    <a:pt x="2348071" y="702222"/>
                  </a:cubicBezTo>
                  <a:cubicBezTo>
                    <a:pt x="1992376" y="790830"/>
                    <a:pt x="1655669" y="933234"/>
                    <a:pt x="1347442" y="1125639"/>
                  </a:cubicBezTo>
                  <a:cubicBezTo>
                    <a:pt x="1038583" y="1318676"/>
                    <a:pt x="763267" y="1558548"/>
                    <a:pt x="528458" y="1838927"/>
                  </a:cubicBezTo>
                  <a:cubicBezTo>
                    <a:pt x="486053" y="1889559"/>
                    <a:pt x="430990" y="1922471"/>
                    <a:pt x="371497" y="1937027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Graphic 26">
              <a:extLst>
                <a:ext uri="{FF2B5EF4-FFF2-40B4-BE49-F238E27FC236}">
                  <a16:creationId xmlns:a16="http://schemas.microsoft.com/office/drawing/2014/main" id="{EC7F8BFD-33E8-43B4-9226-7F56986BA662}"/>
                </a:ext>
              </a:extLst>
            </p:cNvPr>
            <p:cNvSpPr/>
            <p:nvPr/>
          </p:nvSpPr>
          <p:spPr>
            <a:xfrm>
              <a:off x="3935469" y="4990606"/>
              <a:ext cx="7059658" cy="3703391"/>
            </a:xfrm>
            <a:custGeom>
              <a:avLst/>
              <a:gdLst>
                <a:gd name="connsiteX0" fmla="*/ 3432045 w 7059658"/>
                <a:gd name="connsiteY0" fmla="*/ 3545969 h 3703391"/>
                <a:gd name="connsiteX1" fmla="*/ 1791545 w 7059658"/>
                <a:gd name="connsiteY1" fmla="*/ 3690905 h 3703391"/>
                <a:gd name="connsiteX2" fmla="*/ 187121 w 7059658"/>
                <a:gd name="connsiteY2" fmla="*/ 3319387 h 3703391"/>
                <a:gd name="connsiteX3" fmla="*/ 21932 w 7059658"/>
                <a:gd name="connsiteY3" fmla="*/ 2930148 h 3703391"/>
                <a:gd name="connsiteX4" fmla="*/ 411171 w 7059658"/>
                <a:gd name="connsiteY4" fmla="*/ 2764959 h 3703391"/>
                <a:gd name="connsiteX5" fmla="*/ 1832684 w 7059658"/>
                <a:gd name="connsiteY5" fmla="*/ 3094072 h 3703391"/>
                <a:gd name="connsiteX6" fmla="*/ 3286476 w 7059658"/>
                <a:gd name="connsiteY6" fmla="*/ 2965592 h 3703391"/>
                <a:gd name="connsiteX7" fmla="*/ 4630775 w 7059658"/>
                <a:gd name="connsiteY7" fmla="*/ 2396606 h 3703391"/>
                <a:gd name="connsiteX8" fmla="*/ 5731403 w 7059658"/>
                <a:gd name="connsiteY8" fmla="*/ 1438382 h 3703391"/>
                <a:gd name="connsiteX9" fmla="*/ 6483299 w 7059658"/>
                <a:gd name="connsiteY9" fmla="*/ 187121 h 3703391"/>
                <a:gd name="connsiteX10" fmla="*/ 6872538 w 7059658"/>
                <a:gd name="connsiteY10" fmla="*/ 21931 h 3703391"/>
                <a:gd name="connsiteX11" fmla="*/ 7037727 w 7059658"/>
                <a:gd name="connsiteY11" fmla="*/ 411170 h 3703391"/>
                <a:gd name="connsiteX12" fmla="*/ 6189629 w 7059658"/>
                <a:gd name="connsiteY12" fmla="*/ 1821925 h 3703391"/>
                <a:gd name="connsiteX13" fmla="*/ 4947229 w 7059658"/>
                <a:gd name="connsiteY13" fmla="*/ 2903566 h 3703391"/>
                <a:gd name="connsiteX14" fmla="*/ 3432045 w 7059658"/>
                <a:gd name="connsiteY14" fmla="*/ 3545969 h 370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59658" h="3703391">
                  <a:moveTo>
                    <a:pt x="3432045" y="3545969"/>
                  </a:moveTo>
                  <a:cubicBezTo>
                    <a:pt x="2892806" y="3680145"/>
                    <a:pt x="2340910" y="3728880"/>
                    <a:pt x="1791545" y="3690905"/>
                  </a:cubicBezTo>
                  <a:cubicBezTo>
                    <a:pt x="1240914" y="3652298"/>
                    <a:pt x="701043" y="3527614"/>
                    <a:pt x="187121" y="3319387"/>
                  </a:cubicBezTo>
                  <a:cubicBezTo>
                    <a:pt x="33957" y="3257362"/>
                    <a:pt x="-40093" y="3082680"/>
                    <a:pt x="21932" y="2930148"/>
                  </a:cubicBezTo>
                  <a:cubicBezTo>
                    <a:pt x="83957" y="2776984"/>
                    <a:pt x="258640" y="2702934"/>
                    <a:pt x="411171" y="2764959"/>
                  </a:cubicBezTo>
                  <a:cubicBezTo>
                    <a:pt x="866232" y="2949135"/>
                    <a:pt x="1344711" y="3059894"/>
                    <a:pt x="1832684" y="3094072"/>
                  </a:cubicBezTo>
                  <a:cubicBezTo>
                    <a:pt x="2319391" y="3128249"/>
                    <a:pt x="2808630" y="3084578"/>
                    <a:pt x="3286476" y="2965592"/>
                  </a:cubicBezTo>
                  <a:cubicBezTo>
                    <a:pt x="3764322" y="2846604"/>
                    <a:pt x="4216852" y="2654833"/>
                    <a:pt x="4630775" y="2396606"/>
                  </a:cubicBezTo>
                  <a:cubicBezTo>
                    <a:pt x="5045963" y="2137746"/>
                    <a:pt x="5416214" y="1814963"/>
                    <a:pt x="5731403" y="1438382"/>
                  </a:cubicBezTo>
                  <a:cubicBezTo>
                    <a:pt x="6046591" y="1062434"/>
                    <a:pt x="6299122" y="641549"/>
                    <a:pt x="6483299" y="187121"/>
                  </a:cubicBezTo>
                  <a:cubicBezTo>
                    <a:pt x="6545324" y="33957"/>
                    <a:pt x="6720007" y="-40093"/>
                    <a:pt x="6872538" y="21931"/>
                  </a:cubicBezTo>
                  <a:cubicBezTo>
                    <a:pt x="7025701" y="83957"/>
                    <a:pt x="7099752" y="258640"/>
                    <a:pt x="7037727" y="411170"/>
                  </a:cubicBezTo>
                  <a:cubicBezTo>
                    <a:pt x="6830133" y="923827"/>
                    <a:pt x="6544690" y="1398508"/>
                    <a:pt x="6189629" y="1821925"/>
                  </a:cubicBezTo>
                  <a:cubicBezTo>
                    <a:pt x="5833934" y="2246606"/>
                    <a:pt x="5415582" y="2610529"/>
                    <a:pt x="4947229" y="2903566"/>
                  </a:cubicBezTo>
                  <a:cubicBezTo>
                    <a:pt x="4481408" y="3195970"/>
                    <a:pt x="3971283" y="3411792"/>
                    <a:pt x="3432045" y="3545969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Graphic 26">
              <a:extLst>
                <a:ext uri="{FF2B5EF4-FFF2-40B4-BE49-F238E27FC236}">
                  <a16:creationId xmlns:a16="http://schemas.microsoft.com/office/drawing/2014/main" id="{E15AE27A-013C-4EDE-92AB-AD3781384681}"/>
                </a:ext>
              </a:extLst>
            </p:cNvPr>
            <p:cNvSpPr/>
            <p:nvPr/>
          </p:nvSpPr>
          <p:spPr>
            <a:xfrm>
              <a:off x="842133" y="1272266"/>
              <a:ext cx="948599" cy="2111135"/>
            </a:xfrm>
            <a:custGeom>
              <a:avLst/>
              <a:gdLst>
                <a:gd name="connsiteX0" fmla="*/ 371607 w 948599"/>
                <a:gd name="connsiteY0" fmla="*/ 2102303 h 2111135"/>
                <a:gd name="connsiteX1" fmla="*/ 278570 w 948599"/>
                <a:gd name="connsiteY1" fmla="*/ 2110531 h 2111135"/>
                <a:gd name="connsiteX2" fmla="*/ 723 w 948599"/>
                <a:gd name="connsiteY2" fmla="*/ 1791545 h 2111135"/>
                <a:gd name="connsiteX3" fmla="*/ 372240 w 948599"/>
                <a:gd name="connsiteY3" fmla="*/ 187121 h 2111135"/>
                <a:gd name="connsiteX4" fmla="*/ 761479 w 948599"/>
                <a:gd name="connsiteY4" fmla="*/ 21932 h 2111135"/>
                <a:gd name="connsiteX5" fmla="*/ 926668 w 948599"/>
                <a:gd name="connsiteY5" fmla="*/ 411171 h 2111135"/>
                <a:gd name="connsiteX6" fmla="*/ 597556 w 948599"/>
                <a:gd name="connsiteY6" fmla="*/ 1832684 h 2111135"/>
                <a:gd name="connsiteX7" fmla="*/ 371607 w 948599"/>
                <a:gd name="connsiteY7" fmla="*/ 2102303 h 211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8599" h="2111135">
                  <a:moveTo>
                    <a:pt x="371607" y="2102303"/>
                  </a:moveTo>
                  <a:cubicBezTo>
                    <a:pt x="341860" y="2109898"/>
                    <a:pt x="310848" y="2112430"/>
                    <a:pt x="278570" y="2110531"/>
                  </a:cubicBezTo>
                  <a:cubicBezTo>
                    <a:pt x="114013" y="2099139"/>
                    <a:pt x="-10670" y="1956101"/>
                    <a:pt x="723" y="1791545"/>
                  </a:cubicBezTo>
                  <a:cubicBezTo>
                    <a:pt x="39330" y="1240914"/>
                    <a:pt x="164013" y="701043"/>
                    <a:pt x="372240" y="187121"/>
                  </a:cubicBezTo>
                  <a:cubicBezTo>
                    <a:pt x="434265" y="33957"/>
                    <a:pt x="608948" y="-40093"/>
                    <a:pt x="761479" y="21932"/>
                  </a:cubicBezTo>
                  <a:cubicBezTo>
                    <a:pt x="914643" y="83957"/>
                    <a:pt x="988693" y="258639"/>
                    <a:pt x="926668" y="411171"/>
                  </a:cubicBezTo>
                  <a:cubicBezTo>
                    <a:pt x="742492" y="866232"/>
                    <a:pt x="631733" y="1344711"/>
                    <a:pt x="597556" y="1832684"/>
                  </a:cubicBezTo>
                  <a:cubicBezTo>
                    <a:pt x="588695" y="1964962"/>
                    <a:pt x="494391" y="2071923"/>
                    <a:pt x="371607" y="2102303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Graphic 26">
              <a:extLst>
                <a:ext uri="{FF2B5EF4-FFF2-40B4-BE49-F238E27FC236}">
                  <a16:creationId xmlns:a16="http://schemas.microsoft.com/office/drawing/2014/main" id="{EACC5525-C551-4A7E-9CFC-F652E97494D0}"/>
                </a:ext>
              </a:extLst>
            </p:cNvPr>
            <p:cNvSpPr/>
            <p:nvPr/>
          </p:nvSpPr>
          <p:spPr>
            <a:xfrm>
              <a:off x="86117" y="-3026588"/>
              <a:ext cx="12465841" cy="7185936"/>
            </a:xfrm>
            <a:custGeom>
              <a:avLst/>
              <a:gdLst>
                <a:gd name="connsiteX0" fmla="*/ 12223782 w 12465841"/>
                <a:gd name="connsiteY0" fmla="*/ 7177105 h 7185936"/>
                <a:gd name="connsiteX1" fmla="*/ 12130744 w 12465841"/>
                <a:gd name="connsiteY1" fmla="*/ 7185333 h 7185936"/>
                <a:gd name="connsiteX2" fmla="*/ 11852897 w 12465841"/>
                <a:gd name="connsiteY2" fmla="*/ 6866347 h 7185936"/>
                <a:gd name="connsiteX3" fmla="*/ 11691505 w 12465841"/>
                <a:gd name="connsiteY3" fmla="*/ 5040405 h 7185936"/>
                <a:gd name="connsiteX4" fmla="*/ 10976951 w 12465841"/>
                <a:gd name="connsiteY4" fmla="*/ 3352437 h 7185936"/>
                <a:gd name="connsiteX5" fmla="*/ 9773791 w 12465841"/>
                <a:gd name="connsiteY5" fmla="*/ 1970163 h 7185936"/>
                <a:gd name="connsiteX6" fmla="*/ 8202279 w 12465841"/>
                <a:gd name="connsiteY6" fmla="*/ 1025863 h 7185936"/>
                <a:gd name="connsiteX7" fmla="*/ 6416843 w 12465841"/>
                <a:gd name="connsiteY7" fmla="*/ 612574 h 7185936"/>
                <a:gd name="connsiteX8" fmla="*/ 4590901 w 12465841"/>
                <a:gd name="connsiteY8" fmla="*/ 773965 h 7185936"/>
                <a:gd name="connsiteX9" fmla="*/ 2902933 w 12465841"/>
                <a:gd name="connsiteY9" fmla="*/ 1488520 h 7185936"/>
                <a:gd name="connsiteX10" fmla="*/ 1520660 w 12465841"/>
                <a:gd name="connsiteY10" fmla="*/ 2691679 h 7185936"/>
                <a:gd name="connsiteX11" fmla="*/ 576360 w 12465841"/>
                <a:gd name="connsiteY11" fmla="*/ 4263192 h 7185936"/>
                <a:gd name="connsiteX12" fmla="*/ 187121 w 12465841"/>
                <a:gd name="connsiteY12" fmla="*/ 4428382 h 7185936"/>
                <a:gd name="connsiteX13" fmla="*/ 21932 w 12465841"/>
                <a:gd name="connsiteY13" fmla="*/ 4039143 h 7185936"/>
                <a:gd name="connsiteX14" fmla="*/ 1061801 w 12465841"/>
                <a:gd name="connsiteY14" fmla="*/ 2308137 h 7185936"/>
                <a:gd name="connsiteX15" fmla="*/ 2585846 w 12465841"/>
                <a:gd name="connsiteY15" fmla="*/ 981560 h 7185936"/>
                <a:gd name="connsiteX16" fmla="*/ 4446598 w 12465841"/>
                <a:gd name="connsiteY16" fmla="*/ 192955 h 7185936"/>
                <a:gd name="connsiteX17" fmla="*/ 4446598 w 12465841"/>
                <a:gd name="connsiteY17" fmla="*/ 192955 h 7185936"/>
                <a:gd name="connsiteX18" fmla="*/ 6458615 w 12465841"/>
                <a:gd name="connsiteY18" fmla="*/ 15741 h 7185936"/>
                <a:gd name="connsiteX19" fmla="*/ 8426961 w 12465841"/>
                <a:gd name="connsiteY19" fmla="*/ 471435 h 7185936"/>
                <a:gd name="connsiteX20" fmla="*/ 10157967 w 12465841"/>
                <a:gd name="connsiteY20" fmla="*/ 1511304 h 7185936"/>
                <a:gd name="connsiteX21" fmla="*/ 11484544 w 12465841"/>
                <a:gd name="connsiteY21" fmla="*/ 3035349 h 7185936"/>
                <a:gd name="connsiteX22" fmla="*/ 12272516 w 12465841"/>
                <a:gd name="connsiteY22" fmla="*/ 4895468 h 7185936"/>
                <a:gd name="connsiteX23" fmla="*/ 12450363 w 12465841"/>
                <a:gd name="connsiteY23" fmla="*/ 6907486 h 7185936"/>
                <a:gd name="connsiteX24" fmla="*/ 12223782 w 12465841"/>
                <a:gd name="connsiteY24" fmla="*/ 7177105 h 718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465841" h="7185936">
                  <a:moveTo>
                    <a:pt x="12223782" y="7177105"/>
                  </a:moveTo>
                  <a:cubicBezTo>
                    <a:pt x="12194035" y="7184700"/>
                    <a:pt x="12163022" y="7187231"/>
                    <a:pt x="12130744" y="7185333"/>
                  </a:cubicBezTo>
                  <a:cubicBezTo>
                    <a:pt x="11966187" y="7173941"/>
                    <a:pt x="11841505" y="7030903"/>
                    <a:pt x="11852897" y="6866347"/>
                  </a:cubicBezTo>
                  <a:cubicBezTo>
                    <a:pt x="11895302" y="6254957"/>
                    <a:pt x="11841505" y="5641035"/>
                    <a:pt x="11691505" y="5040405"/>
                  </a:cubicBezTo>
                  <a:cubicBezTo>
                    <a:pt x="11541506" y="4439774"/>
                    <a:pt x="11301633" y="3872055"/>
                    <a:pt x="10976951" y="3352437"/>
                  </a:cubicBezTo>
                  <a:cubicBezTo>
                    <a:pt x="10651636" y="2831552"/>
                    <a:pt x="10246574" y="2366364"/>
                    <a:pt x="9773791" y="1970163"/>
                  </a:cubicBezTo>
                  <a:cubicBezTo>
                    <a:pt x="9301641" y="1574595"/>
                    <a:pt x="8773162" y="1256875"/>
                    <a:pt x="8202279" y="1025863"/>
                  </a:cubicBezTo>
                  <a:cubicBezTo>
                    <a:pt x="7630129" y="794219"/>
                    <a:pt x="7029499" y="654979"/>
                    <a:pt x="6416843" y="612574"/>
                  </a:cubicBezTo>
                  <a:cubicBezTo>
                    <a:pt x="5805453" y="570169"/>
                    <a:pt x="5191532" y="623966"/>
                    <a:pt x="4590901" y="773965"/>
                  </a:cubicBezTo>
                  <a:cubicBezTo>
                    <a:pt x="3990270" y="923965"/>
                    <a:pt x="3422551" y="1163837"/>
                    <a:pt x="2902933" y="1488520"/>
                  </a:cubicBezTo>
                  <a:cubicBezTo>
                    <a:pt x="2382049" y="1813835"/>
                    <a:pt x="1916861" y="2218897"/>
                    <a:pt x="1520660" y="2691679"/>
                  </a:cubicBezTo>
                  <a:cubicBezTo>
                    <a:pt x="1125092" y="3163830"/>
                    <a:pt x="807372" y="3692309"/>
                    <a:pt x="576360" y="4263192"/>
                  </a:cubicBezTo>
                  <a:cubicBezTo>
                    <a:pt x="514335" y="4416356"/>
                    <a:pt x="339652" y="4490407"/>
                    <a:pt x="187121" y="4428382"/>
                  </a:cubicBezTo>
                  <a:cubicBezTo>
                    <a:pt x="33957" y="4366357"/>
                    <a:pt x="-40093" y="4191674"/>
                    <a:pt x="21932" y="4039143"/>
                  </a:cubicBezTo>
                  <a:cubicBezTo>
                    <a:pt x="276361" y="3410664"/>
                    <a:pt x="626360" y="2828388"/>
                    <a:pt x="1061801" y="2308137"/>
                  </a:cubicBezTo>
                  <a:cubicBezTo>
                    <a:pt x="1498508" y="1786620"/>
                    <a:pt x="2011164" y="1340419"/>
                    <a:pt x="2585846" y="981560"/>
                  </a:cubicBezTo>
                  <a:cubicBezTo>
                    <a:pt x="3159261" y="623333"/>
                    <a:pt x="3785208" y="358144"/>
                    <a:pt x="4446598" y="192955"/>
                  </a:cubicBezTo>
                  <a:cubicBezTo>
                    <a:pt x="4446598" y="192955"/>
                    <a:pt x="4446598" y="192955"/>
                    <a:pt x="4446598" y="192955"/>
                  </a:cubicBezTo>
                  <a:cubicBezTo>
                    <a:pt x="5107988" y="28399"/>
                    <a:pt x="5784567" y="-31728"/>
                    <a:pt x="6458615" y="15741"/>
                  </a:cubicBezTo>
                  <a:cubicBezTo>
                    <a:pt x="7134561" y="62576"/>
                    <a:pt x="7796585" y="216373"/>
                    <a:pt x="8426961" y="471435"/>
                  </a:cubicBezTo>
                  <a:cubicBezTo>
                    <a:pt x="9055439" y="725864"/>
                    <a:pt x="9637716" y="1075863"/>
                    <a:pt x="10157967" y="1511304"/>
                  </a:cubicBezTo>
                  <a:cubicBezTo>
                    <a:pt x="10679484" y="1948011"/>
                    <a:pt x="11125685" y="2460668"/>
                    <a:pt x="11484544" y="3035349"/>
                  </a:cubicBezTo>
                  <a:cubicBezTo>
                    <a:pt x="11842138" y="3608131"/>
                    <a:pt x="12107326" y="4234079"/>
                    <a:pt x="12272516" y="4895468"/>
                  </a:cubicBezTo>
                  <a:cubicBezTo>
                    <a:pt x="12437705" y="5556858"/>
                    <a:pt x="12497198" y="6234071"/>
                    <a:pt x="12450363" y="6907486"/>
                  </a:cubicBezTo>
                  <a:cubicBezTo>
                    <a:pt x="12440236" y="7039764"/>
                    <a:pt x="12345933" y="7146725"/>
                    <a:pt x="12223782" y="7177105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Graphic 26">
              <a:extLst>
                <a:ext uri="{FF2B5EF4-FFF2-40B4-BE49-F238E27FC236}">
                  <a16:creationId xmlns:a16="http://schemas.microsoft.com/office/drawing/2014/main" id="{B3DA75DD-0744-4317-97CE-196031F34F9C}"/>
                </a:ext>
              </a:extLst>
            </p:cNvPr>
            <p:cNvSpPr/>
            <p:nvPr/>
          </p:nvSpPr>
          <p:spPr>
            <a:xfrm>
              <a:off x="-362752" y="2701698"/>
              <a:ext cx="782851" cy="2517232"/>
            </a:xfrm>
            <a:custGeom>
              <a:avLst/>
              <a:gdLst>
                <a:gd name="connsiteX0" fmla="*/ 555612 w 782851"/>
                <a:gd name="connsiteY0" fmla="*/ 2508308 h 2517232"/>
                <a:gd name="connsiteX1" fmla="*/ 192955 w 782851"/>
                <a:gd name="connsiteY1" fmla="*/ 2290587 h 2517232"/>
                <a:gd name="connsiteX2" fmla="*/ 15741 w 782851"/>
                <a:gd name="connsiteY2" fmla="*/ 278569 h 2517232"/>
                <a:gd name="connsiteX3" fmla="*/ 334727 w 782851"/>
                <a:gd name="connsiteY3" fmla="*/ 723 h 2517232"/>
                <a:gd name="connsiteX4" fmla="*/ 612574 w 782851"/>
                <a:gd name="connsiteY4" fmla="*/ 319708 h 2517232"/>
                <a:gd name="connsiteX5" fmla="*/ 773965 w 782851"/>
                <a:gd name="connsiteY5" fmla="*/ 2145651 h 2517232"/>
                <a:gd name="connsiteX6" fmla="*/ 555612 w 782851"/>
                <a:gd name="connsiteY6" fmla="*/ 2508308 h 2517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851" h="2517232">
                  <a:moveTo>
                    <a:pt x="555612" y="2508308"/>
                  </a:moveTo>
                  <a:cubicBezTo>
                    <a:pt x="395486" y="2548181"/>
                    <a:pt x="232828" y="2450713"/>
                    <a:pt x="192955" y="2290587"/>
                  </a:cubicBezTo>
                  <a:cubicBezTo>
                    <a:pt x="28399" y="1629197"/>
                    <a:pt x="-31728" y="951985"/>
                    <a:pt x="15741" y="278569"/>
                  </a:cubicBezTo>
                  <a:cubicBezTo>
                    <a:pt x="27133" y="114013"/>
                    <a:pt x="170170" y="-10670"/>
                    <a:pt x="334727" y="723"/>
                  </a:cubicBezTo>
                  <a:cubicBezTo>
                    <a:pt x="499283" y="12115"/>
                    <a:pt x="623966" y="155152"/>
                    <a:pt x="612574" y="319708"/>
                  </a:cubicBezTo>
                  <a:cubicBezTo>
                    <a:pt x="570169" y="931098"/>
                    <a:pt x="623966" y="1545020"/>
                    <a:pt x="773965" y="2145651"/>
                  </a:cubicBezTo>
                  <a:cubicBezTo>
                    <a:pt x="813839" y="2305777"/>
                    <a:pt x="715738" y="2468434"/>
                    <a:pt x="555612" y="2508308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Graphic 26">
              <a:extLst>
                <a:ext uri="{FF2B5EF4-FFF2-40B4-BE49-F238E27FC236}">
                  <a16:creationId xmlns:a16="http://schemas.microsoft.com/office/drawing/2014/main" id="{96461F51-2246-4AF3-B1F0-3090C88C608E}"/>
                </a:ext>
              </a:extLst>
            </p:cNvPr>
            <p:cNvSpPr/>
            <p:nvPr/>
          </p:nvSpPr>
          <p:spPr>
            <a:xfrm>
              <a:off x="127669" y="5534687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Graphic 26">
              <a:extLst>
                <a:ext uri="{FF2B5EF4-FFF2-40B4-BE49-F238E27FC236}">
                  <a16:creationId xmlns:a16="http://schemas.microsoft.com/office/drawing/2014/main" id="{1B5E281B-ADE0-42F8-8EDE-91532054FC3E}"/>
                </a:ext>
              </a:extLst>
            </p:cNvPr>
            <p:cNvSpPr/>
            <p:nvPr/>
          </p:nvSpPr>
          <p:spPr>
            <a:xfrm>
              <a:off x="10626361" y="4245452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2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0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Graphic 26">
              <a:extLst>
                <a:ext uri="{FF2B5EF4-FFF2-40B4-BE49-F238E27FC236}">
                  <a16:creationId xmlns:a16="http://schemas.microsoft.com/office/drawing/2014/main" id="{A09AB5FB-595C-4E3D-B561-77800912A53A}"/>
                </a:ext>
              </a:extLst>
            </p:cNvPr>
            <p:cNvSpPr/>
            <p:nvPr/>
          </p:nvSpPr>
          <p:spPr>
            <a:xfrm>
              <a:off x="1991978" y="-1833792"/>
              <a:ext cx="8611721" cy="2932598"/>
            </a:xfrm>
            <a:custGeom>
              <a:avLst/>
              <a:gdLst>
                <a:gd name="connsiteX0" fmla="*/ 8471093 w 8611721"/>
                <a:gd name="connsiteY0" fmla="*/ 2886852 h 2932598"/>
                <a:gd name="connsiteX1" fmla="*/ 8566029 w 8611721"/>
                <a:gd name="connsiteY1" fmla="*/ 2474829 h 2932598"/>
                <a:gd name="connsiteX2" fmla="*/ 7484388 w 8611721"/>
                <a:gd name="connsiteY2" fmla="*/ 1232429 h 2932598"/>
                <a:gd name="connsiteX3" fmla="*/ 6073634 w 8611721"/>
                <a:gd name="connsiteY3" fmla="*/ 384330 h 2932598"/>
                <a:gd name="connsiteX4" fmla="*/ 4469210 w 8611721"/>
                <a:gd name="connsiteY4" fmla="*/ 12813 h 2932598"/>
                <a:gd name="connsiteX5" fmla="*/ 2828710 w 8611721"/>
                <a:gd name="connsiteY5" fmla="*/ 157749 h 2932598"/>
                <a:gd name="connsiteX6" fmla="*/ 1312261 w 8611721"/>
                <a:gd name="connsiteY6" fmla="*/ 800152 h 2932598"/>
                <a:gd name="connsiteX7" fmla="*/ 69860 w 8611721"/>
                <a:gd name="connsiteY7" fmla="*/ 1881793 h 2932598"/>
                <a:gd name="connsiteX8" fmla="*/ 107202 w 8611721"/>
                <a:gd name="connsiteY8" fmla="*/ 2303311 h 2932598"/>
                <a:gd name="connsiteX9" fmla="*/ 528719 w 8611721"/>
                <a:gd name="connsiteY9" fmla="*/ 2265969 h 2932598"/>
                <a:gd name="connsiteX10" fmla="*/ 1629981 w 8611721"/>
                <a:gd name="connsiteY10" fmla="*/ 1307745 h 2932598"/>
                <a:gd name="connsiteX11" fmla="*/ 2974279 w 8611721"/>
                <a:gd name="connsiteY11" fmla="*/ 738760 h 2932598"/>
                <a:gd name="connsiteX12" fmla="*/ 4428071 w 8611721"/>
                <a:gd name="connsiteY12" fmla="*/ 610279 h 2932598"/>
                <a:gd name="connsiteX13" fmla="*/ 5849585 w 8611721"/>
                <a:gd name="connsiteY13" fmla="*/ 939392 h 2932598"/>
                <a:gd name="connsiteX14" fmla="*/ 7100845 w 8611721"/>
                <a:gd name="connsiteY14" fmla="*/ 1691287 h 2932598"/>
                <a:gd name="connsiteX15" fmla="*/ 8059069 w 8611721"/>
                <a:gd name="connsiteY15" fmla="*/ 2791916 h 2932598"/>
                <a:gd name="connsiteX16" fmla="*/ 8385017 w 8611721"/>
                <a:gd name="connsiteY16" fmla="*/ 2923561 h 2932598"/>
                <a:gd name="connsiteX17" fmla="*/ 8471093 w 8611721"/>
                <a:gd name="connsiteY17" fmla="*/ 2886852 h 293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11721" h="2932598">
                  <a:moveTo>
                    <a:pt x="8471093" y="2886852"/>
                  </a:moveTo>
                  <a:cubicBezTo>
                    <a:pt x="8610965" y="2799511"/>
                    <a:pt x="8654003" y="2614701"/>
                    <a:pt x="8566029" y="2474829"/>
                  </a:cubicBezTo>
                  <a:cubicBezTo>
                    <a:pt x="8273626" y="2006476"/>
                    <a:pt x="7909703" y="1588123"/>
                    <a:pt x="7484388" y="1232429"/>
                  </a:cubicBezTo>
                  <a:cubicBezTo>
                    <a:pt x="7060339" y="877367"/>
                    <a:pt x="6585657" y="591925"/>
                    <a:pt x="6073634" y="384330"/>
                  </a:cubicBezTo>
                  <a:cubicBezTo>
                    <a:pt x="5559712" y="176103"/>
                    <a:pt x="5019841" y="51420"/>
                    <a:pt x="4469210" y="12813"/>
                  </a:cubicBezTo>
                  <a:cubicBezTo>
                    <a:pt x="3919845" y="-25795"/>
                    <a:pt x="3367949" y="22939"/>
                    <a:pt x="2828710" y="157749"/>
                  </a:cubicBezTo>
                  <a:cubicBezTo>
                    <a:pt x="2289472" y="292559"/>
                    <a:pt x="1779347" y="508381"/>
                    <a:pt x="1312261" y="800152"/>
                  </a:cubicBezTo>
                  <a:cubicBezTo>
                    <a:pt x="843908" y="1092556"/>
                    <a:pt x="425555" y="1456478"/>
                    <a:pt x="69860" y="1881793"/>
                  </a:cubicBezTo>
                  <a:cubicBezTo>
                    <a:pt x="-36468" y="2008375"/>
                    <a:pt x="-19380" y="2196982"/>
                    <a:pt x="107202" y="2303311"/>
                  </a:cubicBezTo>
                  <a:cubicBezTo>
                    <a:pt x="233784" y="2409639"/>
                    <a:pt x="422391" y="2392551"/>
                    <a:pt x="528719" y="2265969"/>
                  </a:cubicBezTo>
                  <a:cubicBezTo>
                    <a:pt x="844541" y="1888755"/>
                    <a:pt x="1214793" y="1566604"/>
                    <a:pt x="1629981" y="1307745"/>
                  </a:cubicBezTo>
                  <a:cubicBezTo>
                    <a:pt x="2043903" y="1049518"/>
                    <a:pt x="2495800" y="857746"/>
                    <a:pt x="2974279" y="738760"/>
                  </a:cubicBezTo>
                  <a:cubicBezTo>
                    <a:pt x="3452125" y="619773"/>
                    <a:pt x="3941364" y="576102"/>
                    <a:pt x="4428071" y="610279"/>
                  </a:cubicBezTo>
                  <a:cubicBezTo>
                    <a:pt x="4916044" y="644456"/>
                    <a:pt x="5394523" y="755215"/>
                    <a:pt x="5849585" y="939392"/>
                  </a:cubicBezTo>
                  <a:cubicBezTo>
                    <a:pt x="6304013" y="1123568"/>
                    <a:pt x="6724897" y="1376732"/>
                    <a:pt x="7100845" y="1691287"/>
                  </a:cubicBezTo>
                  <a:cubicBezTo>
                    <a:pt x="7477426" y="2006476"/>
                    <a:pt x="7799577" y="2377361"/>
                    <a:pt x="8059069" y="2791916"/>
                  </a:cubicBezTo>
                  <a:cubicBezTo>
                    <a:pt x="8129322" y="2904574"/>
                    <a:pt x="8262866" y="2954574"/>
                    <a:pt x="8385017" y="2923561"/>
                  </a:cubicBezTo>
                  <a:cubicBezTo>
                    <a:pt x="8414764" y="2915966"/>
                    <a:pt x="8443877" y="2903941"/>
                    <a:pt x="8471093" y="2886852"/>
                  </a:cubicBezTo>
                  <a:close/>
                </a:path>
              </a:pathLst>
            </a:custGeom>
            <a:solidFill>
              <a:schemeClr val="tx2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Graphic 26">
              <a:extLst>
                <a:ext uri="{FF2B5EF4-FFF2-40B4-BE49-F238E27FC236}">
                  <a16:creationId xmlns:a16="http://schemas.microsoft.com/office/drawing/2014/main" id="{FD8FDC39-6BF9-4BF8-9C2B-3CBD4B63715E}"/>
                </a:ext>
              </a:extLst>
            </p:cNvPr>
            <p:cNvSpPr/>
            <p:nvPr/>
          </p:nvSpPr>
          <p:spPr>
            <a:xfrm>
              <a:off x="978867" y="4332096"/>
              <a:ext cx="2223713" cy="3200336"/>
            </a:xfrm>
            <a:custGeom>
              <a:avLst/>
              <a:gdLst>
                <a:gd name="connsiteX0" fmla="*/ 2153853 w 2223713"/>
                <a:gd name="connsiteY0" fmla="*/ 3093091 h 3200336"/>
                <a:gd name="connsiteX1" fmla="*/ 2116512 w 2223713"/>
                <a:gd name="connsiteY1" fmla="*/ 2671573 h 3200336"/>
                <a:gd name="connsiteX2" fmla="*/ 1158288 w 2223713"/>
                <a:gd name="connsiteY2" fmla="*/ 1570945 h 3200336"/>
                <a:gd name="connsiteX3" fmla="*/ 589303 w 2223713"/>
                <a:gd name="connsiteY3" fmla="*/ 226646 h 3200336"/>
                <a:gd name="connsiteX4" fmla="*/ 226646 w 2223713"/>
                <a:gd name="connsiteY4" fmla="*/ 8925 h 3200336"/>
                <a:gd name="connsiteX5" fmla="*/ 8925 w 2223713"/>
                <a:gd name="connsiteY5" fmla="*/ 371582 h 3200336"/>
                <a:gd name="connsiteX6" fmla="*/ 651328 w 2223713"/>
                <a:gd name="connsiteY6" fmla="*/ 1888032 h 3200336"/>
                <a:gd name="connsiteX7" fmla="*/ 1732969 w 2223713"/>
                <a:gd name="connsiteY7" fmla="*/ 3130432 h 3200336"/>
                <a:gd name="connsiteX8" fmla="*/ 1997525 w 2223713"/>
                <a:gd name="connsiteY8" fmla="*/ 3191192 h 3200336"/>
                <a:gd name="connsiteX9" fmla="*/ 2153853 w 2223713"/>
                <a:gd name="connsiteY9" fmla="*/ 3093091 h 3200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3713" h="3200336">
                  <a:moveTo>
                    <a:pt x="2153853" y="3093091"/>
                  </a:moveTo>
                  <a:cubicBezTo>
                    <a:pt x="2260182" y="2966509"/>
                    <a:pt x="2243094" y="2777902"/>
                    <a:pt x="2116512" y="2671573"/>
                  </a:cubicBezTo>
                  <a:cubicBezTo>
                    <a:pt x="1739931" y="2356385"/>
                    <a:pt x="1417780" y="1985500"/>
                    <a:pt x="1158288" y="1570945"/>
                  </a:cubicBezTo>
                  <a:cubicBezTo>
                    <a:pt x="900061" y="1157022"/>
                    <a:pt x="708290" y="705125"/>
                    <a:pt x="589303" y="226646"/>
                  </a:cubicBezTo>
                  <a:cubicBezTo>
                    <a:pt x="549429" y="66520"/>
                    <a:pt x="386772" y="-30948"/>
                    <a:pt x="226646" y="8925"/>
                  </a:cubicBezTo>
                  <a:cubicBezTo>
                    <a:pt x="66520" y="48799"/>
                    <a:pt x="-30948" y="211456"/>
                    <a:pt x="8925" y="371582"/>
                  </a:cubicBezTo>
                  <a:cubicBezTo>
                    <a:pt x="143102" y="910820"/>
                    <a:pt x="359557" y="1420945"/>
                    <a:pt x="651328" y="1888032"/>
                  </a:cubicBezTo>
                  <a:cubicBezTo>
                    <a:pt x="943732" y="2356385"/>
                    <a:pt x="1307654" y="2774737"/>
                    <a:pt x="1732969" y="3130432"/>
                  </a:cubicBezTo>
                  <a:cubicBezTo>
                    <a:pt x="1809551" y="3194356"/>
                    <a:pt x="1908285" y="3213976"/>
                    <a:pt x="1997525" y="3191192"/>
                  </a:cubicBezTo>
                  <a:cubicBezTo>
                    <a:pt x="2056386" y="3176634"/>
                    <a:pt x="2112082" y="3143091"/>
                    <a:pt x="2153853" y="3093091"/>
                  </a:cubicBezTo>
                  <a:close/>
                </a:path>
              </a:pathLst>
            </a:custGeom>
            <a:solidFill>
              <a:schemeClr val="tx2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Graphic 26">
              <a:extLst>
                <a:ext uri="{FF2B5EF4-FFF2-40B4-BE49-F238E27FC236}">
                  <a16:creationId xmlns:a16="http://schemas.microsoft.com/office/drawing/2014/main" id="{C52EA6D5-D913-4438-9AB8-5A0B783C2AF8}"/>
                </a:ext>
              </a:extLst>
            </p:cNvPr>
            <p:cNvSpPr/>
            <p:nvPr/>
          </p:nvSpPr>
          <p:spPr>
            <a:xfrm>
              <a:off x="10611107" y="1930207"/>
              <a:ext cx="747051" cy="2145218"/>
            </a:xfrm>
            <a:custGeom>
              <a:avLst/>
              <a:gdLst>
                <a:gd name="connsiteX0" fmla="*/ 734239 w 747051"/>
                <a:gd name="connsiteY0" fmla="*/ 1867146 h 2145218"/>
                <a:gd name="connsiteX1" fmla="*/ 589302 w 747051"/>
                <a:gd name="connsiteY1" fmla="*/ 226646 h 2145218"/>
                <a:gd name="connsiteX2" fmla="*/ 226645 w 747051"/>
                <a:gd name="connsiteY2" fmla="*/ 8925 h 2145218"/>
                <a:gd name="connsiteX3" fmla="*/ 8925 w 747051"/>
                <a:gd name="connsiteY3" fmla="*/ 371582 h 2145218"/>
                <a:gd name="connsiteX4" fmla="*/ 137405 w 747051"/>
                <a:gd name="connsiteY4" fmla="*/ 1825374 h 2145218"/>
                <a:gd name="connsiteX5" fmla="*/ 415253 w 747051"/>
                <a:gd name="connsiteY5" fmla="*/ 2144360 h 2145218"/>
                <a:gd name="connsiteX6" fmla="*/ 508290 w 747051"/>
                <a:gd name="connsiteY6" fmla="*/ 2136132 h 2145218"/>
                <a:gd name="connsiteX7" fmla="*/ 734239 w 747051"/>
                <a:gd name="connsiteY7" fmla="*/ 1867146 h 2145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7051" h="2145218">
                  <a:moveTo>
                    <a:pt x="734239" y="1867146"/>
                  </a:moveTo>
                  <a:cubicBezTo>
                    <a:pt x="772846" y="1317781"/>
                    <a:pt x="724112" y="765885"/>
                    <a:pt x="589302" y="226646"/>
                  </a:cubicBezTo>
                  <a:cubicBezTo>
                    <a:pt x="549429" y="66520"/>
                    <a:pt x="386772" y="-30948"/>
                    <a:pt x="226645" y="8925"/>
                  </a:cubicBezTo>
                  <a:cubicBezTo>
                    <a:pt x="66520" y="48799"/>
                    <a:pt x="-30948" y="211456"/>
                    <a:pt x="8925" y="371582"/>
                  </a:cubicBezTo>
                  <a:cubicBezTo>
                    <a:pt x="127912" y="849429"/>
                    <a:pt x="171583" y="1338667"/>
                    <a:pt x="137405" y="1825374"/>
                  </a:cubicBezTo>
                  <a:cubicBezTo>
                    <a:pt x="126013" y="1989930"/>
                    <a:pt x="250063" y="2132967"/>
                    <a:pt x="415253" y="2144360"/>
                  </a:cubicBezTo>
                  <a:cubicBezTo>
                    <a:pt x="447531" y="2146892"/>
                    <a:pt x="478543" y="2143727"/>
                    <a:pt x="508290" y="2136132"/>
                  </a:cubicBezTo>
                  <a:cubicBezTo>
                    <a:pt x="630442" y="2106386"/>
                    <a:pt x="725378" y="2000057"/>
                    <a:pt x="734239" y="1867146"/>
                  </a:cubicBezTo>
                  <a:close/>
                </a:path>
              </a:pathLst>
            </a:custGeom>
            <a:solidFill>
              <a:schemeClr val="accent3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Graphic 26">
              <a:extLst>
                <a:ext uri="{FF2B5EF4-FFF2-40B4-BE49-F238E27FC236}">
                  <a16:creationId xmlns:a16="http://schemas.microsoft.com/office/drawing/2014/main" id="{432AFDB6-8512-4E66-9DFB-1644E70853CA}"/>
                </a:ext>
              </a:extLst>
            </p:cNvPr>
            <p:cNvSpPr/>
            <p:nvPr/>
          </p:nvSpPr>
          <p:spPr>
            <a:xfrm>
              <a:off x="572481" y="6394687"/>
              <a:ext cx="10537663" cy="3492803"/>
            </a:xfrm>
            <a:custGeom>
              <a:avLst/>
              <a:gdLst>
                <a:gd name="connsiteX0" fmla="*/ 8943759 w 10537663"/>
                <a:gd name="connsiteY0" fmla="*/ 2512139 h 3492803"/>
                <a:gd name="connsiteX1" fmla="*/ 10467803 w 10537663"/>
                <a:gd name="connsiteY1" fmla="*/ 1185562 h 3492803"/>
                <a:gd name="connsiteX2" fmla="*/ 10430462 w 10537663"/>
                <a:gd name="connsiteY2" fmla="*/ 764045 h 3492803"/>
                <a:gd name="connsiteX3" fmla="*/ 10008944 w 10537663"/>
                <a:gd name="connsiteY3" fmla="*/ 801386 h 3492803"/>
                <a:gd name="connsiteX4" fmla="*/ 8626671 w 10537663"/>
                <a:gd name="connsiteY4" fmla="*/ 2004546 h 3492803"/>
                <a:gd name="connsiteX5" fmla="*/ 6938703 w 10537663"/>
                <a:gd name="connsiteY5" fmla="*/ 2719100 h 3492803"/>
                <a:gd name="connsiteX6" fmla="*/ 5112761 w 10537663"/>
                <a:gd name="connsiteY6" fmla="*/ 2880491 h 3492803"/>
                <a:gd name="connsiteX7" fmla="*/ 3327325 w 10537663"/>
                <a:gd name="connsiteY7" fmla="*/ 2467202 h 3492803"/>
                <a:gd name="connsiteX8" fmla="*/ 1755813 w 10537663"/>
                <a:gd name="connsiteY8" fmla="*/ 1522902 h 3492803"/>
                <a:gd name="connsiteX9" fmla="*/ 552653 w 10537663"/>
                <a:gd name="connsiteY9" fmla="*/ 140629 h 3492803"/>
                <a:gd name="connsiteX10" fmla="*/ 140629 w 10537663"/>
                <a:gd name="connsiteY10" fmla="*/ 45693 h 3492803"/>
                <a:gd name="connsiteX11" fmla="*/ 45693 w 10537663"/>
                <a:gd name="connsiteY11" fmla="*/ 457717 h 3492803"/>
                <a:gd name="connsiteX12" fmla="*/ 1372270 w 10537663"/>
                <a:gd name="connsiteY12" fmla="*/ 1981761 h 3492803"/>
                <a:gd name="connsiteX13" fmla="*/ 3103275 w 10537663"/>
                <a:gd name="connsiteY13" fmla="*/ 3021630 h 3492803"/>
                <a:gd name="connsiteX14" fmla="*/ 5071622 w 10537663"/>
                <a:gd name="connsiteY14" fmla="*/ 3477325 h 3492803"/>
                <a:gd name="connsiteX15" fmla="*/ 7083639 w 10537663"/>
                <a:gd name="connsiteY15" fmla="*/ 3299478 h 3492803"/>
                <a:gd name="connsiteX16" fmla="*/ 8943759 w 10537663"/>
                <a:gd name="connsiteY16" fmla="*/ 2512139 h 3492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37663" h="3492803">
                  <a:moveTo>
                    <a:pt x="8943759" y="2512139"/>
                  </a:moveTo>
                  <a:cubicBezTo>
                    <a:pt x="9518439" y="2153280"/>
                    <a:pt x="10031095" y="1707079"/>
                    <a:pt x="10467803" y="1185562"/>
                  </a:cubicBezTo>
                  <a:cubicBezTo>
                    <a:pt x="10574132" y="1058980"/>
                    <a:pt x="10557043" y="870373"/>
                    <a:pt x="10430462" y="764045"/>
                  </a:cubicBezTo>
                  <a:cubicBezTo>
                    <a:pt x="10303880" y="657716"/>
                    <a:pt x="10115273" y="674804"/>
                    <a:pt x="10008944" y="801386"/>
                  </a:cubicBezTo>
                  <a:cubicBezTo>
                    <a:pt x="9612743" y="1274169"/>
                    <a:pt x="9147555" y="1679231"/>
                    <a:pt x="8626671" y="2004546"/>
                  </a:cubicBezTo>
                  <a:cubicBezTo>
                    <a:pt x="8107053" y="2329228"/>
                    <a:pt x="7539334" y="2569733"/>
                    <a:pt x="6938703" y="2719100"/>
                  </a:cubicBezTo>
                  <a:cubicBezTo>
                    <a:pt x="6338073" y="2869100"/>
                    <a:pt x="5724151" y="2922897"/>
                    <a:pt x="5112761" y="2880491"/>
                  </a:cubicBezTo>
                  <a:cubicBezTo>
                    <a:pt x="4500105" y="2837454"/>
                    <a:pt x="3899475" y="2698847"/>
                    <a:pt x="3327325" y="2467202"/>
                  </a:cubicBezTo>
                  <a:cubicBezTo>
                    <a:pt x="2756441" y="2236191"/>
                    <a:pt x="2227963" y="1918470"/>
                    <a:pt x="1755813" y="1522902"/>
                  </a:cubicBezTo>
                  <a:cubicBezTo>
                    <a:pt x="1283030" y="1126701"/>
                    <a:pt x="877968" y="661513"/>
                    <a:pt x="552653" y="140629"/>
                  </a:cubicBezTo>
                  <a:cubicBezTo>
                    <a:pt x="465311" y="756"/>
                    <a:pt x="280502" y="-42282"/>
                    <a:pt x="140629" y="45693"/>
                  </a:cubicBezTo>
                  <a:cubicBezTo>
                    <a:pt x="756" y="133034"/>
                    <a:pt x="-42282" y="317844"/>
                    <a:pt x="45693" y="457717"/>
                  </a:cubicBezTo>
                  <a:cubicBezTo>
                    <a:pt x="404552" y="1032397"/>
                    <a:pt x="850753" y="1545054"/>
                    <a:pt x="1372270" y="1981761"/>
                  </a:cubicBezTo>
                  <a:cubicBezTo>
                    <a:pt x="1891888" y="2417202"/>
                    <a:pt x="2474797" y="2767201"/>
                    <a:pt x="3103275" y="3021630"/>
                  </a:cubicBezTo>
                  <a:cubicBezTo>
                    <a:pt x="3733653" y="3276693"/>
                    <a:pt x="4395675" y="3430489"/>
                    <a:pt x="5071622" y="3477325"/>
                  </a:cubicBezTo>
                  <a:cubicBezTo>
                    <a:pt x="5745670" y="3524160"/>
                    <a:pt x="6422250" y="3464667"/>
                    <a:pt x="7083639" y="3299478"/>
                  </a:cubicBezTo>
                  <a:cubicBezTo>
                    <a:pt x="7745029" y="3134921"/>
                    <a:pt x="8370976" y="2869732"/>
                    <a:pt x="8943759" y="2512139"/>
                  </a:cubicBezTo>
                  <a:close/>
                </a:path>
              </a:pathLst>
            </a:custGeom>
            <a:solidFill>
              <a:schemeClr val="accent3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Graphic 26">
              <a:extLst>
                <a:ext uri="{FF2B5EF4-FFF2-40B4-BE49-F238E27FC236}">
                  <a16:creationId xmlns:a16="http://schemas.microsoft.com/office/drawing/2014/main" id="{FAD1ADB4-D233-4BE2-8B96-B7C817E06784}"/>
                </a:ext>
              </a:extLst>
            </p:cNvPr>
            <p:cNvSpPr/>
            <p:nvPr/>
          </p:nvSpPr>
          <p:spPr>
            <a:xfrm>
              <a:off x="2561836" y="5068866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solidFill>
              <a:schemeClr val="accent3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Graphic 26">
              <a:extLst>
                <a:ext uri="{FF2B5EF4-FFF2-40B4-BE49-F238E27FC236}">
                  <a16:creationId xmlns:a16="http://schemas.microsoft.com/office/drawing/2014/main" id="{09ABA772-0F45-4A1C-A199-B1451C9C1AF9}"/>
                </a:ext>
              </a:extLst>
            </p:cNvPr>
            <p:cNvSpPr/>
            <p:nvPr/>
          </p:nvSpPr>
          <p:spPr>
            <a:xfrm>
              <a:off x="8221307" y="246101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2" y="598732"/>
                    <a:pt x="299366" y="598732"/>
                  </a:cubicBezTo>
                  <a:cubicBezTo>
                    <a:pt x="134031" y="598732"/>
                    <a:pt x="0" y="464701"/>
                    <a:pt x="0" y="299366"/>
                  </a:cubicBezTo>
                  <a:cubicBezTo>
                    <a:pt x="0" y="134031"/>
                    <a:pt x="134030" y="0"/>
                    <a:pt x="299366" y="0"/>
                  </a:cubicBezTo>
                  <a:cubicBezTo>
                    <a:pt x="464701" y="0"/>
                    <a:pt x="598732" y="134031"/>
                    <a:pt x="598732" y="299366"/>
                  </a:cubicBezTo>
                  <a:close/>
                </a:path>
              </a:pathLst>
            </a:custGeom>
            <a:solidFill>
              <a:schemeClr val="accent3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0C864D-B184-48E2-8C4C-53FC2E6BF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90140" y="1458299"/>
            <a:ext cx="8611720" cy="3941402"/>
          </a:xfrm>
        </p:spPr>
        <p:txBody>
          <a:bodyPr anchor="ctr">
            <a:noAutofit/>
          </a:bodyPr>
          <a:lstStyle>
            <a:lvl1pPr algn="ctr">
              <a:defRPr sz="60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 algn="ctr">
              <a:defRPr b="1">
                <a:solidFill>
                  <a:schemeClr val="accent6"/>
                </a:solidFill>
              </a:defRPr>
            </a:lvl2pPr>
            <a:lvl3pPr algn="ctr">
              <a:defRPr b="1">
                <a:solidFill>
                  <a:schemeClr val="accent6"/>
                </a:solidFill>
              </a:defRPr>
            </a:lvl3pPr>
            <a:lvl4pPr algn="ctr">
              <a:defRPr b="1">
                <a:solidFill>
                  <a:schemeClr val="accent6"/>
                </a:solidFill>
              </a:defRPr>
            </a:lvl4pPr>
            <a:lvl5pPr algn="ctr">
              <a:defRPr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Impactful statement goes her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62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aphic 26">
            <a:extLst>
              <a:ext uri="{FF2B5EF4-FFF2-40B4-BE49-F238E27FC236}">
                <a16:creationId xmlns:a16="http://schemas.microsoft.com/office/drawing/2014/main" id="{194F408F-C0E8-4DD5-AE6B-2110D73B1379}"/>
              </a:ext>
            </a:extLst>
          </p:cNvPr>
          <p:cNvGrpSpPr/>
          <p:nvPr/>
        </p:nvGrpSpPr>
        <p:grpSpPr>
          <a:xfrm>
            <a:off x="-362752" y="-3026588"/>
            <a:ext cx="12914710" cy="12914078"/>
            <a:chOff x="-362752" y="-3026588"/>
            <a:chExt cx="12914710" cy="12914078"/>
          </a:xfrm>
        </p:grpSpPr>
        <p:sp>
          <p:nvSpPr>
            <p:cNvPr id="31" name="Graphic 26">
              <a:extLst>
                <a:ext uri="{FF2B5EF4-FFF2-40B4-BE49-F238E27FC236}">
                  <a16:creationId xmlns:a16="http://schemas.microsoft.com/office/drawing/2014/main" id="{C7392C0A-E67E-437F-8935-CDB7758B0170}"/>
                </a:ext>
              </a:extLst>
            </p:cNvPr>
            <p:cNvSpPr/>
            <p:nvPr/>
          </p:nvSpPr>
          <p:spPr>
            <a:xfrm>
              <a:off x="3371348" y="6019516"/>
              <a:ext cx="5020687" cy="1481312"/>
            </a:xfrm>
            <a:custGeom>
              <a:avLst/>
              <a:gdLst>
                <a:gd name="connsiteX0" fmla="*/ 3707560 w 5020687"/>
                <a:gd name="connsiteY0" fmla="*/ 1359467 h 1481312"/>
                <a:gd name="connsiteX1" fmla="*/ 2439210 w 5020687"/>
                <a:gd name="connsiteY1" fmla="*/ 1471493 h 1481312"/>
                <a:gd name="connsiteX2" fmla="*/ 1198076 w 5020687"/>
                <a:gd name="connsiteY2" fmla="*/ 1184152 h 1481312"/>
                <a:gd name="connsiteX3" fmla="*/ 106941 w 5020687"/>
                <a:gd name="connsiteY3" fmla="*/ 528459 h 1481312"/>
                <a:gd name="connsiteX4" fmla="*/ 69599 w 5020687"/>
                <a:gd name="connsiteY4" fmla="*/ 106941 h 1481312"/>
                <a:gd name="connsiteX5" fmla="*/ 491116 w 5020687"/>
                <a:gd name="connsiteY5" fmla="*/ 69600 h 1481312"/>
                <a:gd name="connsiteX6" fmla="*/ 1422758 w 5020687"/>
                <a:gd name="connsiteY6" fmla="*/ 629090 h 1481312"/>
                <a:gd name="connsiteX7" fmla="*/ 2480982 w 5020687"/>
                <a:gd name="connsiteY7" fmla="*/ 874027 h 1481312"/>
                <a:gd name="connsiteX8" fmla="*/ 3563256 w 5020687"/>
                <a:gd name="connsiteY8" fmla="*/ 778458 h 1481312"/>
                <a:gd name="connsiteX9" fmla="*/ 4563252 w 5020687"/>
                <a:gd name="connsiteY9" fmla="*/ 355041 h 1481312"/>
                <a:gd name="connsiteX10" fmla="*/ 4975276 w 5020687"/>
                <a:gd name="connsiteY10" fmla="*/ 449978 h 1481312"/>
                <a:gd name="connsiteX11" fmla="*/ 4880339 w 5020687"/>
                <a:gd name="connsiteY11" fmla="*/ 862001 h 1481312"/>
                <a:gd name="connsiteX12" fmla="*/ 3707560 w 5020687"/>
                <a:gd name="connsiteY12" fmla="*/ 1359467 h 1481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0687" h="1481312">
                  <a:moveTo>
                    <a:pt x="3707560" y="1359467"/>
                  </a:moveTo>
                  <a:cubicBezTo>
                    <a:pt x="3290472" y="1463265"/>
                    <a:pt x="2863892" y="1501239"/>
                    <a:pt x="2439210" y="1471493"/>
                  </a:cubicBezTo>
                  <a:cubicBezTo>
                    <a:pt x="2013262" y="1441746"/>
                    <a:pt x="1595542" y="1344911"/>
                    <a:pt x="1198076" y="1184152"/>
                  </a:cubicBezTo>
                  <a:cubicBezTo>
                    <a:pt x="801875" y="1023393"/>
                    <a:pt x="434788" y="803140"/>
                    <a:pt x="106941" y="528459"/>
                  </a:cubicBezTo>
                  <a:cubicBezTo>
                    <a:pt x="-19641" y="422129"/>
                    <a:pt x="-36097" y="233522"/>
                    <a:pt x="69599" y="106941"/>
                  </a:cubicBezTo>
                  <a:cubicBezTo>
                    <a:pt x="175928" y="-19641"/>
                    <a:pt x="364534" y="-36097"/>
                    <a:pt x="491116" y="69600"/>
                  </a:cubicBezTo>
                  <a:cubicBezTo>
                    <a:pt x="770862" y="303776"/>
                    <a:pt x="1084152" y="492382"/>
                    <a:pt x="1422758" y="629090"/>
                  </a:cubicBezTo>
                  <a:cubicBezTo>
                    <a:pt x="1761364" y="766432"/>
                    <a:pt x="2117692" y="848710"/>
                    <a:pt x="2480982" y="874027"/>
                  </a:cubicBezTo>
                  <a:cubicBezTo>
                    <a:pt x="2843005" y="899343"/>
                    <a:pt x="3206928" y="867065"/>
                    <a:pt x="3563256" y="778458"/>
                  </a:cubicBezTo>
                  <a:cubicBezTo>
                    <a:pt x="3918951" y="689850"/>
                    <a:pt x="4255659" y="547446"/>
                    <a:pt x="4563252" y="355041"/>
                  </a:cubicBezTo>
                  <a:cubicBezTo>
                    <a:pt x="4703125" y="267700"/>
                    <a:pt x="4887935" y="310105"/>
                    <a:pt x="4975276" y="449978"/>
                  </a:cubicBezTo>
                  <a:cubicBezTo>
                    <a:pt x="5062617" y="589850"/>
                    <a:pt x="5020212" y="774659"/>
                    <a:pt x="4880339" y="862001"/>
                  </a:cubicBezTo>
                  <a:cubicBezTo>
                    <a:pt x="4518949" y="1088583"/>
                    <a:pt x="4124013" y="1255670"/>
                    <a:pt x="3707560" y="1359467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26">
              <a:extLst>
                <a:ext uri="{FF2B5EF4-FFF2-40B4-BE49-F238E27FC236}">
                  <a16:creationId xmlns:a16="http://schemas.microsoft.com/office/drawing/2014/main" id="{4A9F640C-7021-44B7-9793-0316137488CC}"/>
                </a:ext>
              </a:extLst>
            </p:cNvPr>
            <p:cNvSpPr/>
            <p:nvPr/>
          </p:nvSpPr>
          <p:spPr>
            <a:xfrm>
              <a:off x="2906793" y="-640297"/>
              <a:ext cx="4899739" cy="1945900"/>
            </a:xfrm>
            <a:custGeom>
              <a:avLst/>
              <a:gdLst>
                <a:gd name="connsiteX0" fmla="*/ 371497 w 4899739"/>
                <a:gd name="connsiteY0" fmla="*/ 1937027 h 1945900"/>
                <a:gd name="connsiteX1" fmla="*/ 106941 w 4899739"/>
                <a:gd name="connsiteY1" fmla="*/ 1876268 h 1945900"/>
                <a:gd name="connsiteX2" fmla="*/ 69599 w 4899739"/>
                <a:gd name="connsiteY2" fmla="*/ 1454751 h 1945900"/>
                <a:gd name="connsiteX3" fmla="*/ 1030355 w 4899739"/>
                <a:gd name="connsiteY3" fmla="*/ 618678 h 1945900"/>
                <a:gd name="connsiteX4" fmla="*/ 2203135 w 4899739"/>
                <a:gd name="connsiteY4" fmla="*/ 121845 h 1945900"/>
                <a:gd name="connsiteX5" fmla="*/ 3471484 w 4899739"/>
                <a:gd name="connsiteY5" fmla="*/ 9820 h 1945900"/>
                <a:gd name="connsiteX6" fmla="*/ 4712618 w 4899739"/>
                <a:gd name="connsiteY6" fmla="*/ 297161 h 1945900"/>
                <a:gd name="connsiteX7" fmla="*/ 4877808 w 4899739"/>
                <a:gd name="connsiteY7" fmla="*/ 686400 h 1945900"/>
                <a:gd name="connsiteX8" fmla="*/ 4488569 w 4899739"/>
                <a:gd name="connsiteY8" fmla="*/ 851589 h 1945900"/>
                <a:gd name="connsiteX9" fmla="*/ 3430345 w 4899739"/>
                <a:gd name="connsiteY9" fmla="*/ 606653 h 1945900"/>
                <a:gd name="connsiteX10" fmla="*/ 2348071 w 4899739"/>
                <a:gd name="connsiteY10" fmla="*/ 702222 h 1945900"/>
                <a:gd name="connsiteX11" fmla="*/ 1347442 w 4899739"/>
                <a:gd name="connsiteY11" fmla="*/ 1125639 h 1945900"/>
                <a:gd name="connsiteX12" fmla="*/ 528458 w 4899739"/>
                <a:gd name="connsiteY12" fmla="*/ 1838927 h 1945900"/>
                <a:gd name="connsiteX13" fmla="*/ 371497 w 4899739"/>
                <a:gd name="connsiteY13" fmla="*/ 1937027 h 194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99739" h="1945900">
                  <a:moveTo>
                    <a:pt x="371497" y="1937027"/>
                  </a:moveTo>
                  <a:cubicBezTo>
                    <a:pt x="281623" y="1959179"/>
                    <a:pt x="182890" y="1940192"/>
                    <a:pt x="106941" y="1876268"/>
                  </a:cubicBezTo>
                  <a:cubicBezTo>
                    <a:pt x="-19641" y="1769940"/>
                    <a:pt x="-36097" y="1581333"/>
                    <a:pt x="69599" y="1454751"/>
                  </a:cubicBezTo>
                  <a:cubicBezTo>
                    <a:pt x="344914" y="1126271"/>
                    <a:pt x="668331" y="844627"/>
                    <a:pt x="1030355" y="618678"/>
                  </a:cubicBezTo>
                  <a:cubicBezTo>
                    <a:pt x="1391746" y="393363"/>
                    <a:pt x="1786048" y="226275"/>
                    <a:pt x="2203135" y="121845"/>
                  </a:cubicBezTo>
                  <a:cubicBezTo>
                    <a:pt x="2620222" y="18048"/>
                    <a:pt x="3046803" y="-19927"/>
                    <a:pt x="3471484" y="9820"/>
                  </a:cubicBezTo>
                  <a:cubicBezTo>
                    <a:pt x="3897432" y="39567"/>
                    <a:pt x="4315152" y="136402"/>
                    <a:pt x="4712618" y="297161"/>
                  </a:cubicBezTo>
                  <a:cubicBezTo>
                    <a:pt x="4865783" y="359186"/>
                    <a:pt x="4939833" y="533869"/>
                    <a:pt x="4877808" y="686400"/>
                  </a:cubicBezTo>
                  <a:cubicBezTo>
                    <a:pt x="4815783" y="839564"/>
                    <a:pt x="4641100" y="913614"/>
                    <a:pt x="4488569" y="851589"/>
                  </a:cubicBezTo>
                  <a:cubicBezTo>
                    <a:pt x="4149963" y="714248"/>
                    <a:pt x="3793635" y="631969"/>
                    <a:pt x="3430345" y="606653"/>
                  </a:cubicBezTo>
                  <a:cubicBezTo>
                    <a:pt x="3068322" y="581337"/>
                    <a:pt x="2704399" y="613615"/>
                    <a:pt x="2348071" y="702222"/>
                  </a:cubicBezTo>
                  <a:cubicBezTo>
                    <a:pt x="1992376" y="790830"/>
                    <a:pt x="1655669" y="933234"/>
                    <a:pt x="1347442" y="1125639"/>
                  </a:cubicBezTo>
                  <a:cubicBezTo>
                    <a:pt x="1038583" y="1318676"/>
                    <a:pt x="763267" y="1558548"/>
                    <a:pt x="528458" y="1838927"/>
                  </a:cubicBezTo>
                  <a:cubicBezTo>
                    <a:pt x="486053" y="1889559"/>
                    <a:pt x="430990" y="1922471"/>
                    <a:pt x="371497" y="1937027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Graphic 26">
              <a:extLst>
                <a:ext uri="{FF2B5EF4-FFF2-40B4-BE49-F238E27FC236}">
                  <a16:creationId xmlns:a16="http://schemas.microsoft.com/office/drawing/2014/main" id="{EC7F8BFD-33E8-43B4-9226-7F56986BA662}"/>
                </a:ext>
              </a:extLst>
            </p:cNvPr>
            <p:cNvSpPr/>
            <p:nvPr/>
          </p:nvSpPr>
          <p:spPr>
            <a:xfrm>
              <a:off x="3935469" y="4990606"/>
              <a:ext cx="7059658" cy="3703391"/>
            </a:xfrm>
            <a:custGeom>
              <a:avLst/>
              <a:gdLst>
                <a:gd name="connsiteX0" fmla="*/ 3432045 w 7059658"/>
                <a:gd name="connsiteY0" fmla="*/ 3545969 h 3703391"/>
                <a:gd name="connsiteX1" fmla="*/ 1791545 w 7059658"/>
                <a:gd name="connsiteY1" fmla="*/ 3690905 h 3703391"/>
                <a:gd name="connsiteX2" fmla="*/ 187121 w 7059658"/>
                <a:gd name="connsiteY2" fmla="*/ 3319387 h 3703391"/>
                <a:gd name="connsiteX3" fmla="*/ 21932 w 7059658"/>
                <a:gd name="connsiteY3" fmla="*/ 2930148 h 3703391"/>
                <a:gd name="connsiteX4" fmla="*/ 411171 w 7059658"/>
                <a:gd name="connsiteY4" fmla="*/ 2764959 h 3703391"/>
                <a:gd name="connsiteX5" fmla="*/ 1832684 w 7059658"/>
                <a:gd name="connsiteY5" fmla="*/ 3094072 h 3703391"/>
                <a:gd name="connsiteX6" fmla="*/ 3286476 w 7059658"/>
                <a:gd name="connsiteY6" fmla="*/ 2965592 h 3703391"/>
                <a:gd name="connsiteX7" fmla="*/ 4630775 w 7059658"/>
                <a:gd name="connsiteY7" fmla="*/ 2396606 h 3703391"/>
                <a:gd name="connsiteX8" fmla="*/ 5731403 w 7059658"/>
                <a:gd name="connsiteY8" fmla="*/ 1438382 h 3703391"/>
                <a:gd name="connsiteX9" fmla="*/ 6483299 w 7059658"/>
                <a:gd name="connsiteY9" fmla="*/ 187121 h 3703391"/>
                <a:gd name="connsiteX10" fmla="*/ 6872538 w 7059658"/>
                <a:gd name="connsiteY10" fmla="*/ 21931 h 3703391"/>
                <a:gd name="connsiteX11" fmla="*/ 7037727 w 7059658"/>
                <a:gd name="connsiteY11" fmla="*/ 411170 h 3703391"/>
                <a:gd name="connsiteX12" fmla="*/ 6189629 w 7059658"/>
                <a:gd name="connsiteY12" fmla="*/ 1821925 h 3703391"/>
                <a:gd name="connsiteX13" fmla="*/ 4947229 w 7059658"/>
                <a:gd name="connsiteY13" fmla="*/ 2903566 h 3703391"/>
                <a:gd name="connsiteX14" fmla="*/ 3432045 w 7059658"/>
                <a:gd name="connsiteY14" fmla="*/ 3545969 h 370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59658" h="3703391">
                  <a:moveTo>
                    <a:pt x="3432045" y="3545969"/>
                  </a:moveTo>
                  <a:cubicBezTo>
                    <a:pt x="2892806" y="3680145"/>
                    <a:pt x="2340910" y="3728880"/>
                    <a:pt x="1791545" y="3690905"/>
                  </a:cubicBezTo>
                  <a:cubicBezTo>
                    <a:pt x="1240914" y="3652298"/>
                    <a:pt x="701043" y="3527614"/>
                    <a:pt x="187121" y="3319387"/>
                  </a:cubicBezTo>
                  <a:cubicBezTo>
                    <a:pt x="33957" y="3257362"/>
                    <a:pt x="-40093" y="3082680"/>
                    <a:pt x="21932" y="2930148"/>
                  </a:cubicBezTo>
                  <a:cubicBezTo>
                    <a:pt x="83957" y="2776984"/>
                    <a:pt x="258640" y="2702934"/>
                    <a:pt x="411171" y="2764959"/>
                  </a:cubicBezTo>
                  <a:cubicBezTo>
                    <a:pt x="866232" y="2949135"/>
                    <a:pt x="1344711" y="3059894"/>
                    <a:pt x="1832684" y="3094072"/>
                  </a:cubicBezTo>
                  <a:cubicBezTo>
                    <a:pt x="2319391" y="3128249"/>
                    <a:pt x="2808630" y="3084578"/>
                    <a:pt x="3286476" y="2965592"/>
                  </a:cubicBezTo>
                  <a:cubicBezTo>
                    <a:pt x="3764322" y="2846604"/>
                    <a:pt x="4216852" y="2654833"/>
                    <a:pt x="4630775" y="2396606"/>
                  </a:cubicBezTo>
                  <a:cubicBezTo>
                    <a:pt x="5045963" y="2137746"/>
                    <a:pt x="5416214" y="1814963"/>
                    <a:pt x="5731403" y="1438382"/>
                  </a:cubicBezTo>
                  <a:cubicBezTo>
                    <a:pt x="6046591" y="1062434"/>
                    <a:pt x="6299122" y="641549"/>
                    <a:pt x="6483299" y="187121"/>
                  </a:cubicBezTo>
                  <a:cubicBezTo>
                    <a:pt x="6545324" y="33957"/>
                    <a:pt x="6720007" y="-40093"/>
                    <a:pt x="6872538" y="21931"/>
                  </a:cubicBezTo>
                  <a:cubicBezTo>
                    <a:pt x="7025701" y="83957"/>
                    <a:pt x="7099752" y="258640"/>
                    <a:pt x="7037727" y="411170"/>
                  </a:cubicBezTo>
                  <a:cubicBezTo>
                    <a:pt x="6830133" y="923827"/>
                    <a:pt x="6544690" y="1398508"/>
                    <a:pt x="6189629" y="1821925"/>
                  </a:cubicBezTo>
                  <a:cubicBezTo>
                    <a:pt x="5833934" y="2246606"/>
                    <a:pt x="5415582" y="2610529"/>
                    <a:pt x="4947229" y="2903566"/>
                  </a:cubicBezTo>
                  <a:cubicBezTo>
                    <a:pt x="4481408" y="3195970"/>
                    <a:pt x="3971283" y="3411792"/>
                    <a:pt x="3432045" y="3545969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Graphic 26">
              <a:extLst>
                <a:ext uri="{FF2B5EF4-FFF2-40B4-BE49-F238E27FC236}">
                  <a16:creationId xmlns:a16="http://schemas.microsoft.com/office/drawing/2014/main" id="{E15AE27A-013C-4EDE-92AB-AD3781384681}"/>
                </a:ext>
              </a:extLst>
            </p:cNvPr>
            <p:cNvSpPr/>
            <p:nvPr/>
          </p:nvSpPr>
          <p:spPr>
            <a:xfrm>
              <a:off x="842133" y="1272266"/>
              <a:ext cx="948599" cy="2111135"/>
            </a:xfrm>
            <a:custGeom>
              <a:avLst/>
              <a:gdLst>
                <a:gd name="connsiteX0" fmla="*/ 371607 w 948599"/>
                <a:gd name="connsiteY0" fmla="*/ 2102303 h 2111135"/>
                <a:gd name="connsiteX1" fmla="*/ 278570 w 948599"/>
                <a:gd name="connsiteY1" fmla="*/ 2110531 h 2111135"/>
                <a:gd name="connsiteX2" fmla="*/ 723 w 948599"/>
                <a:gd name="connsiteY2" fmla="*/ 1791545 h 2111135"/>
                <a:gd name="connsiteX3" fmla="*/ 372240 w 948599"/>
                <a:gd name="connsiteY3" fmla="*/ 187121 h 2111135"/>
                <a:gd name="connsiteX4" fmla="*/ 761479 w 948599"/>
                <a:gd name="connsiteY4" fmla="*/ 21932 h 2111135"/>
                <a:gd name="connsiteX5" fmla="*/ 926668 w 948599"/>
                <a:gd name="connsiteY5" fmla="*/ 411171 h 2111135"/>
                <a:gd name="connsiteX6" fmla="*/ 597556 w 948599"/>
                <a:gd name="connsiteY6" fmla="*/ 1832684 h 2111135"/>
                <a:gd name="connsiteX7" fmla="*/ 371607 w 948599"/>
                <a:gd name="connsiteY7" fmla="*/ 2102303 h 211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8599" h="2111135">
                  <a:moveTo>
                    <a:pt x="371607" y="2102303"/>
                  </a:moveTo>
                  <a:cubicBezTo>
                    <a:pt x="341860" y="2109898"/>
                    <a:pt x="310848" y="2112430"/>
                    <a:pt x="278570" y="2110531"/>
                  </a:cubicBezTo>
                  <a:cubicBezTo>
                    <a:pt x="114013" y="2099139"/>
                    <a:pt x="-10670" y="1956101"/>
                    <a:pt x="723" y="1791545"/>
                  </a:cubicBezTo>
                  <a:cubicBezTo>
                    <a:pt x="39330" y="1240914"/>
                    <a:pt x="164013" y="701043"/>
                    <a:pt x="372240" y="187121"/>
                  </a:cubicBezTo>
                  <a:cubicBezTo>
                    <a:pt x="434265" y="33957"/>
                    <a:pt x="608948" y="-40093"/>
                    <a:pt x="761479" y="21932"/>
                  </a:cubicBezTo>
                  <a:cubicBezTo>
                    <a:pt x="914643" y="83957"/>
                    <a:pt x="988693" y="258639"/>
                    <a:pt x="926668" y="411171"/>
                  </a:cubicBezTo>
                  <a:cubicBezTo>
                    <a:pt x="742492" y="866232"/>
                    <a:pt x="631733" y="1344711"/>
                    <a:pt x="597556" y="1832684"/>
                  </a:cubicBezTo>
                  <a:cubicBezTo>
                    <a:pt x="588695" y="1964962"/>
                    <a:pt x="494391" y="2071923"/>
                    <a:pt x="371607" y="2102303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Graphic 26">
              <a:extLst>
                <a:ext uri="{FF2B5EF4-FFF2-40B4-BE49-F238E27FC236}">
                  <a16:creationId xmlns:a16="http://schemas.microsoft.com/office/drawing/2014/main" id="{EACC5525-C551-4A7E-9CFC-F652E97494D0}"/>
                </a:ext>
              </a:extLst>
            </p:cNvPr>
            <p:cNvSpPr/>
            <p:nvPr/>
          </p:nvSpPr>
          <p:spPr>
            <a:xfrm>
              <a:off x="86117" y="-3026588"/>
              <a:ext cx="12465841" cy="7185936"/>
            </a:xfrm>
            <a:custGeom>
              <a:avLst/>
              <a:gdLst>
                <a:gd name="connsiteX0" fmla="*/ 12223782 w 12465841"/>
                <a:gd name="connsiteY0" fmla="*/ 7177105 h 7185936"/>
                <a:gd name="connsiteX1" fmla="*/ 12130744 w 12465841"/>
                <a:gd name="connsiteY1" fmla="*/ 7185333 h 7185936"/>
                <a:gd name="connsiteX2" fmla="*/ 11852897 w 12465841"/>
                <a:gd name="connsiteY2" fmla="*/ 6866347 h 7185936"/>
                <a:gd name="connsiteX3" fmla="*/ 11691505 w 12465841"/>
                <a:gd name="connsiteY3" fmla="*/ 5040405 h 7185936"/>
                <a:gd name="connsiteX4" fmla="*/ 10976951 w 12465841"/>
                <a:gd name="connsiteY4" fmla="*/ 3352437 h 7185936"/>
                <a:gd name="connsiteX5" fmla="*/ 9773791 w 12465841"/>
                <a:gd name="connsiteY5" fmla="*/ 1970163 h 7185936"/>
                <a:gd name="connsiteX6" fmla="*/ 8202279 w 12465841"/>
                <a:gd name="connsiteY6" fmla="*/ 1025863 h 7185936"/>
                <a:gd name="connsiteX7" fmla="*/ 6416843 w 12465841"/>
                <a:gd name="connsiteY7" fmla="*/ 612574 h 7185936"/>
                <a:gd name="connsiteX8" fmla="*/ 4590901 w 12465841"/>
                <a:gd name="connsiteY8" fmla="*/ 773965 h 7185936"/>
                <a:gd name="connsiteX9" fmla="*/ 2902933 w 12465841"/>
                <a:gd name="connsiteY9" fmla="*/ 1488520 h 7185936"/>
                <a:gd name="connsiteX10" fmla="*/ 1520660 w 12465841"/>
                <a:gd name="connsiteY10" fmla="*/ 2691679 h 7185936"/>
                <a:gd name="connsiteX11" fmla="*/ 576360 w 12465841"/>
                <a:gd name="connsiteY11" fmla="*/ 4263192 h 7185936"/>
                <a:gd name="connsiteX12" fmla="*/ 187121 w 12465841"/>
                <a:gd name="connsiteY12" fmla="*/ 4428382 h 7185936"/>
                <a:gd name="connsiteX13" fmla="*/ 21932 w 12465841"/>
                <a:gd name="connsiteY13" fmla="*/ 4039143 h 7185936"/>
                <a:gd name="connsiteX14" fmla="*/ 1061801 w 12465841"/>
                <a:gd name="connsiteY14" fmla="*/ 2308137 h 7185936"/>
                <a:gd name="connsiteX15" fmla="*/ 2585846 w 12465841"/>
                <a:gd name="connsiteY15" fmla="*/ 981560 h 7185936"/>
                <a:gd name="connsiteX16" fmla="*/ 4446598 w 12465841"/>
                <a:gd name="connsiteY16" fmla="*/ 192955 h 7185936"/>
                <a:gd name="connsiteX17" fmla="*/ 4446598 w 12465841"/>
                <a:gd name="connsiteY17" fmla="*/ 192955 h 7185936"/>
                <a:gd name="connsiteX18" fmla="*/ 6458615 w 12465841"/>
                <a:gd name="connsiteY18" fmla="*/ 15741 h 7185936"/>
                <a:gd name="connsiteX19" fmla="*/ 8426961 w 12465841"/>
                <a:gd name="connsiteY19" fmla="*/ 471435 h 7185936"/>
                <a:gd name="connsiteX20" fmla="*/ 10157967 w 12465841"/>
                <a:gd name="connsiteY20" fmla="*/ 1511304 h 7185936"/>
                <a:gd name="connsiteX21" fmla="*/ 11484544 w 12465841"/>
                <a:gd name="connsiteY21" fmla="*/ 3035349 h 7185936"/>
                <a:gd name="connsiteX22" fmla="*/ 12272516 w 12465841"/>
                <a:gd name="connsiteY22" fmla="*/ 4895468 h 7185936"/>
                <a:gd name="connsiteX23" fmla="*/ 12450363 w 12465841"/>
                <a:gd name="connsiteY23" fmla="*/ 6907486 h 7185936"/>
                <a:gd name="connsiteX24" fmla="*/ 12223782 w 12465841"/>
                <a:gd name="connsiteY24" fmla="*/ 7177105 h 718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465841" h="7185936">
                  <a:moveTo>
                    <a:pt x="12223782" y="7177105"/>
                  </a:moveTo>
                  <a:cubicBezTo>
                    <a:pt x="12194035" y="7184700"/>
                    <a:pt x="12163022" y="7187231"/>
                    <a:pt x="12130744" y="7185333"/>
                  </a:cubicBezTo>
                  <a:cubicBezTo>
                    <a:pt x="11966187" y="7173941"/>
                    <a:pt x="11841505" y="7030903"/>
                    <a:pt x="11852897" y="6866347"/>
                  </a:cubicBezTo>
                  <a:cubicBezTo>
                    <a:pt x="11895302" y="6254957"/>
                    <a:pt x="11841505" y="5641035"/>
                    <a:pt x="11691505" y="5040405"/>
                  </a:cubicBezTo>
                  <a:cubicBezTo>
                    <a:pt x="11541506" y="4439774"/>
                    <a:pt x="11301633" y="3872055"/>
                    <a:pt x="10976951" y="3352437"/>
                  </a:cubicBezTo>
                  <a:cubicBezTo>
                    <a:pt x="10651636" y="2831552"/>
                    <a:pt x="10246574" y="2366364"/>
                    <a:pt x="9773791" y="1970163"/>
                  </a:cubicBezTo>
                  <a:cubicBezTo>
                    <a:pt x="9301641" y="1574595"/>
                    <a:pt x="8773162" y="1256875"/>
                    <a:pt x="8202279" y="1025863"/>
                  </a:cubicBezTo>
                  <a:cubicBezTo>
                    <a:pt x="7630129" y="794219"/>
                    <a:pt x="7029499" y="654979"/>
                    <a:pt x="6416843" y="612574"/>
                  </a:cubicBezTo>
                  <a:cubicBezTo>
                    <a:pt x="5805453" y="570169"/>
                    <a:pt x="5191532" y="623966"/>
                    <a:pt x="4590901" y="773965"/>
                  </a:cubicBezTo>
                  <a:cubicBezTo>
                    <a:pt x="3990270" y="923965"/>
                    <a:pt x="3422551" y="1163837"/>
                    <a:pt x="2902933" y="1488520"/>
                  </a:cubicBezTo>
                  <a:cubicBezTo>
                    <a:pt x="2382049" y="1813835"/>
                    <a:pt x="1916861" y="2218897"/>
                    <a:pt x="1520660" y="2691679"/>
                  </a:cubicBezTo>
                  <a:cubicBezTo>
                    <a:pt x="1125092" y="3163830"/>
                    <a:pt x="807372" y="3692309"/>
                    <a:pt x="576360" y="4263192"/>
                  </a:cubicBezTo>
                  <a:cubicBezTo>
                    <a:pt x="514335" y="4416356"/>
                    <a:pt x="339652" y="4490407"/>
                    <a:pt x="187121" y="4428382"/>
                  </a:cubicBezTo>
                  <a:cubicBezTo>
                    <a:pt x="33957" y="4366357"/>
                    <a:pt x="-40093" y="4191674"/>
                    <a:pt x="21932" y="4039143"/>
                  </a:cubicBezTo>
                  <a:cubicBezTo>
                    <a:pt x="276361" y="3410664"/>
                    <a:pt x="626360" y="2828388"/>
                    <a:pt x="1061801" y="2308137"/>
                  </a:cubicBezTo>
                  <a:cubicBezTo>
                    <a:pt x="1498508" y="1786620"/>
                    <a:pt x="2011164" y="1340419"/>
                    <a:pt x="2585846" y="981560"/>
                  </a:cubicBezTo>
                  <a:cubicBezTo>
                    <a:pt x="3159261" y="623333"/>
                    <a:pt x="3785208" y="358144"/>
                    <a:pt x="4446598" y="192955"/>
                  </a:cubicBezTo>
                  <a:cubicBezTo>
                    <a:pt x="4446598" y="192955"/>
                    <a:pt x="4446598" y="192955"/>
                    <a:pt x="4446598" y="192955"/>
                  </a:cubicBezTo>
                  <a:cubicBezTo>
                    <a:pt x="5107988" y="28399"/>
                    <a:pt x="5784567" y="-31728"/>
                    <a:pt x="6458615" y="15741"/>
                  </a:cubicBezTo>
                  <a:cubicBezTo>
                    <a:pt x="7134561" y="62576"/>
                    <a:pt x="7796585" y="216373"/>
                    <a:pt x="8426961" y="471435"/>
                  </a:cubicBezTo>
                  <a:cubicBezTo>
                    <a:pt x="9055439" y="725864"/>
                    <a:pt x="9637716" y="1075863"/>
                    <a:pt x="10157967" y="1511304"/>
                  </a:cubicBezTo>
                  <a:cubicBezTo>
                    <a:pt x="10679484" y="1948011"/>
                    <a:pt x="11125685" y="2460668"/>
                    <a:pt x="11484544" y="3035349"/>
                  </a:cubicBezTo>
                  <a:cubicBezTo>
                    <a:pt x="11842138" y="3608131"/>
                    <a:pt x="12107326" y="4234079"/>
                    <a:pt x="12272516" y="4895468"/>
                  </a:cubicBezTo>
                  <a:cubicBezTo>
                    <a:pt x="12437705" y="5556858"/>
                    <a:pt x="12497198" y="6234071"/>
                    <a:pt x="12450363" y="6907486"/>
                  </a:cubicBezTo>
                  <a:cubicBezTo>
                    <a:pt x="12440236" y="7039764"/>
                    <a:pt x="12345933" y="7146725"/>
                    <a:pt x="12223782" y="7177105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Graphic 26">
              <a:extLst>
                <a:ext uri="{FF2B5EF4-FFF2-40B4-BE49-F238E27FC236}">
                  <a16:creationId xmlns:a16="http://schemas.microsoft.com/office/drawing/2014/main" id="{B3DA75DD-0744-4317-97CE-196031F34F9C}"/>
                </a:ext>
              </a:extLst>
            </p:cNvPr>
            <p:cNvSpPr/>
            <p:nvPr/>
          </p:nvSpPr>
          <p:spPr>
            <a:xfrm>
              <a:off x="-362752" y="2701698"/>
              <a:ext cx="782851" cy="2517232"/>
            </a:xfrm>
            <a:custGeom>
              <a:avLst/>
              <a:gdLst>
                <a:gd name="connsiteX0" fmla="*/ 555612 w 782851"/>
                <a:gd name="connsiteY0" fmla="*/ 2508308 h 2517232"/>
                <a:gd name="connsiteX1" fmla="*/ 192955 w 782851"/>
                <a:gd name="connsiteY1" fmla="*/ 2290587 h 2517232"/>
                <a:gd name="connsiteX2" fmla="*/ 15741 w 782851"/>
                <a:gd name="connsiteY2" fmla="*/ 278569 h 2517232"/>
                <a:gd name="connsiteX3" fmla="*/ 334727 w 782851"/>
                <a:gd name="connsiteY3" fmla="*/ 723 h 2517232"/>
                <a:gd name="connsiteX4" fmla="*/ 612574 w 782851"/>
                <a:gd name="connsiteY4" fmla="*/ 319708 h 2517232"/>
                <a:gd name="connsiteX5" fmla="*/ 773965 w 782851"/>
                <a:gd name="connsiteY5" fmla="*/ 2145651 h 2517232"/>
                <a:gd name="connsiteX6" fmla="*/ 555612 w 782851"/>
                <a:gd name="connsiteY6" fmla="*/ 2508308 h 2517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851" h="2517232">
                  <a:moveTo>
                    <a:pt x="555612" y="2508308"/>
                  </a:moveTo>
                  <a:cubicBezTo>
                    <a:pt x="395486" y="2548181"/>
                    <a:pt x="232828" y="2450713"/>
                    <a:pt x="192955" y="2290587"/>
                  </a:cubicBezTo>
                  <a:cubicBezTo>
                    <a:pt x="28399" y="1629197"/>
                    <a:pt x="-31728" y="951985"/>
                    <a:pt x="15741" y="278569"/>
                  </a:cubicBezTo>
                  <a:cubicBezTo>
                    <a:pt x="27133" y="114013"/>
                    <a:pt x="170170" y="-10670"/>
                    <a:pt x="334727" y="723"/>
                  </a:cubicBezTo>
                  <a:cubicBezTo>
                    <a:pt x="499283" y="12115"/>
                    <a:pt x="623966" y="155152"/>
                    <a:pt x="612574" y="319708"/>
                  </a:cubicBezTo>
                  <a:cubicBezTo>
                    <a:pt x="570169" y="931098"/>
                    <a:pt x="623966" y="1545020"/>
                    <a:pt x="773965" y="2145651"/>
                  </a:cubicBezTo>
                  <a:cubicBezTo>
                    <a:pt x="813839" y="2305777"/>
                    <a:pt x="715738" y="2468434"/>
                    <a:pt x="555612" y="2508308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Graphic 26">
              <a:extLst>
                <a:ext uri="{FF2B5EF4-FFF2-40B4-BE49-F238E27FC236}">
                  <a16:creationId xmlns:a16="http://schemas.microsoft.com/office/drawing/2014/main" id="{96461F51-2246-4AF3-B1F0-3090C88C608E}"/>
                </a:ext>
              </a:extLst>
            </p:cNvPr>
            <p:cNvSpPr/>
            <p:nvPr/>
          </p:nvSpPr>
          <p:spPr>
            <a:xfrm>
              <a:off x="127669" y="5534687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Graphic 26">
              <a:extLst>
                <a:ext uri="{FF2B5EF4-FFF2-40B4-BE49-F238E27FC236}">
                  <a16:creationId xmlns:a16="http://schemas.microsoft.com/office/drawing/2014/main" id="{1B5E281B-ADE0-42F8-8EDE-91532054FC3E}"/>
                </a:ext>
              </a:extLst>
            </p:cNvPr>
            <p:cNvSpPr/>
            <p:nvPr/>
          </p:nvSpPr>
          <p:spPr>
            <a:xfrm>
              <a:off x="10626361" y="4245452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2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0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Graphic 26">
              <a:extLst>
                <a:ext uri="{FF2B5EF4-FFF2-40B4-BE49-F238E27FC236}">
                  <a16:creationId xmlns:a16="http://schemas.microsoft.com/office/drawing/2014/main" id="{A09AB5FB-595C-4E3D-B561-77800912A53A}"/>
                </a:ext>
              </a:extLst>
            </p:cNvPr>
            <p:cNvSpPr/>
            <p:nvPr/>
          </p:nvSpPr>
          <p:spPr>
            <a:xfrm>
              <a:off x="1991978" y="-1833792"/>
              <a:ext cx="8611721" cy="2932598"/>
            </a:xfrm>
            <a:custGeom>
              <a:avLst/>
              <a:gdLst>
                <a:gd name="connsiteX0" fmla="*/ 8471093 w 8611721"/>
                <a:gd name="connsiteY0" fmla="*/ 2886852 h 2932598"/>
                <a:gd name="connsiteX1" fmla="*/ 8566029 w 8611721"/>
                <a:gd name="connsiteY1" fmla="*/ 2474829 h 2932598"/>
                <a:gd name="connsiteX2" fmla="*/ 7484388 w 8611721"/>
                <a:gd name="connsiteY2" fmla="*/ 1232429 h 2932598"/>
                <a:gd name="connsiteX3" fmla="*/ 6073634 w 8611721"/>
                <a:gd name="connsiteY3" fmla="*/ 384330 h 2932598"/>
                <a:gd name="connsiteX4" fmla="*/ 4469210 w 8611721"/>
                <a:gd name="connsiteY4" fmla="*/ 12813 h 2932598"/>
                <a:gd name="connsiteX5" fmla="*/ 2828710 w 8611721"/>
                <a:gd name="connsiteY5" fmla="*/ 157749 h 2932598"/>
                <a:gd name="connsiteX6" fmla="*/ 1312261 w 8611721"/>
                <a:gd name="connsiteY6" fmla="*/ 800152 h 2932598"/>
                <a:gd name="connsiteX7" fmla="*/ 69860 w 8611721"/>
                <a:gd name="connsiteY7" fmla="*/ 1881793 h 2932598"/>
                <a:gd name="connsiteX8" fmla="*/ 107202 w 8611721"/>
                <a:gd name="connsiteY8" fmla="*/ 2303311 h 2932598"/>
                <a:gd name="connsiteX9" fmla="*/ 528719 w 8611721"/>
                <a:gd name="connsiteY9" fmla="*/ 2265969 h 2932598"/>
                <a:gd name="connsiteX10" fmla="*/ 1629981 w 8611721"/>
                <a:gd name="connsiteY10" fmla="*/ 1307745 h 2932598"/>
                <a:gd name="connsiteX11" fmla="*/ 2974279 w 8611721"/>
                <a:gd name="connsiteY11" fmla="*/ 738760 h 2932598"/>
                <a:gd name="connsiteX12" fmla="*/ 4428071 w 8611721"/>
                <a:gd name="connsiteY12" fmla="*/ 610279 h 2932598"/>
                <a:gd name="connsiteX13" fmla="*/ 5849585 w 8611721"/>
                <a:gd name="connsiteY13" fmla="*/ 939392 h 2932598"/>
                <a:gd name="connsiteX14" fmla="*/ 7100845 w 8611721"/>
                <a:gd name="connsiteY14" fmla="*/ 1691287 h 2932598"/>
                <a:gd name="connsiteX15" fmla="*/ 8059069 w 8611721"/>
                <a:gd name="connsiteY15" fmla="*/ 2791916 h 2932598"/>
                <a:gd name="connsiteX16" fmla="*/ 8385017 w 8611721"/>
                <a:gd name="connsiteY16" fmla="*/ 2923561 h 2932598"/>
                <a:gd name="connsiteX17" fmla="*/ 8471093 w 8611721"/>
                <a:gd name="connsiteY17" fmla="*/ 2886852 h 293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11721" h="2932598">
                  <a:moveTo>
                    <a:pt x="8471093" y="2886852"/>
                  </a:moveTo>
                  <a:cubicBezTo>
                    <a:pt x="8610965" y="2799511"/>
                    <a:pt x="8654003" y="2614701"/>
                    <a:pt x="8566029" y="2474829"/>
                  </a:cubicBezTo>
                  <a:cubicBezTo>
                    <a:pt x="8273626" y="2006476"/>
                    <a:pt x="7909703" y="1588123"/>
                    <a:pt x="7484388" y="1232429"/>
                  </a:cubicBezTo>
                  <a:cubicBezTo>
                    <a:pt x="7060339" y="877367"/>
                    <a:pt x="6585657" y="591925"/>
                    <a:pt x="6073634" y="384330"/>
                  </a:cubicBezTo>
                  <a:cubicBezTo>
                    <a:pt x="5559712" y="176103"/>
                    <a:pt x="5019841" y="51420"/>
                    <a:pt x="4469210" y="12813"/>
                  </a:cubicBezTo>
                  <a:cubicBezTo>
                    <a:pt x="3919845" y="-25795"/>
                    <a:pt x="3367949" y="22939"/>
                    <a:pt x="2828710" y="157749"/>
                  </a:cubicBezTo>
                  <a:cubicBezTo>
                    <a:pt x="2289472" y="292559"/>
                    <a:pt x="1779347" y="508381"/>
                    <a:pt x="1312261" y="800152"/>
                  </a:cubicBezTo>
                  <a:cubicBezTo>
                    <a:pt x="843908" y="1092556"/>
                    <a:pt x="425555" y="1456478"/>
                    <a:pt x="69860" y="1881793"/>
                  </a:cubicBezTo>
                  <a:cubicBezTo>
                    <a:pt x="-36468" y="2008375"/>
                    <a:pt x="-19380" y="2196982"/>
                    <a:pt x="107202" y="2303311"/>
                  </a:cubicBezTo>
                  <a:cubicBezTo>
                    <a:pt x="233784" y="2409639"/>
                    <a:pt x="422391" y="2392551"/>
                    <a:pt x="528719" y="2265969"/>
                  </a:cubicBezTo>
                  <a:cubicBezTo>
                    <a:pt x="844541" y="1888755"/>
                    <a:pt x="1214793" y="1566604"/>
                    <a:pt x="1629981" y="1307745"/>
                  </a:cubicBezTo>
                  <a:cubicBezTo>
                    <a:pt x="2043903" y="1049518"/>
                    <a:pt x="2495800" y="857746"/>
                    <a:pt x="2974279" y="738760"/>
                  </a:cubicBezTo>
                  <a:cubicBezTo>
                    <a:pt x="3452125" y="619773"/>
                    <a:pt x="3941364" y="576102"/>
                    <a:pt x="4428071" y="610279"/>
                  </a:cubicBezTo>
                  <a:cubicBezTo>
                    <a:pt x="4916044" y="644456"/>
                    <a:pt x="5394523" y="755215"/>
                    <a:pt x="5849585" y="939392"/>
                  </a:cubicBezTo>
                  <a:cubicBezTo>
                    <a:pt x="6304013" y="1123568"/>
                    <a:pt x="6724897" y="1376732"/>
                    <a:pt x="7100845" y="1691287"/>
                  </a:cubicBezTo>
                  <a:cubicBezTo>
                    <a:pt x="7477426" y="2006476"/>
                    <a:pt x="7799577" y="2377361"/>
                    <a:pt x="8059069" y="2791916"/>
                  </a:cubicBezTo>
                  <a:cubicBezTo>
                    <a:pt x="8129322" y="2904574"/>
                    <a:pt x="8262866" y="2954574"/>
                    <a:pt x="8385017" y="2923561"/>
                  </a:cubicBezTo>
                  <a:cubicBezTo>
                    <a:pt x="8414764" y="2915966"/>
                    <a:pt x="8443877" y="2903941"/>
                    <a:pt x="8471093" y="2886852"/>
                  </a:cubicBezTo>
                  <a:close/>
                </a:path>
              </a:pathLst>
            </a:custGeom>
            <a:solidFill>
              <a:schemeClr val="tx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Graphic 26">
              <a:extLst>
                <a:ext uri="{FF2B5EF4-FFF2-40B4-BE49-F238E27FC236}">
                  <a16:creationId xmlns:a16="http://schemas.microsoft.com/office/drawing/2014/main" id="{FD8FDC39-6BF9-4BF8-9C2B-3CBD4B63715E}"/>
                </a:ext>
              </a:extLst>
            </p:cNvPr>
            <p:cNvSpPr/>
            <p:nvPr/>
          </p:nvSpPr>
          <p:spPr>
            <a:xfrm>
              <a:off x="978867" y="4332096"/>
              <a:ext cx="2223713" cy="3200336"/>
            </a:xfrm>
            <a:custGeom>
              <a:avLst/>
              <a:gdLst>
                <a:gd name="connsiteX0" fmla="*/ 2153853 w 2223713"/>
                <a:gd name="connsiteY0" fmla="*/ 3093091 h 3200336"/>
                <a:gd name="connsiteX1" fmla="*/ 2116512 w 2223713"/>
                <a:gd name="connsiteY1" fmla="*/ 2671573 h 3200336"/>
                <a:gd name="connsiteX2" fmla="*/ 1158288 w 2223713"/>
                <a:gd name="connsiteY2" fmla="*/ 1570945 h 3200336"/>
                <a:gd name="connsiteX3" fmla="*/ 589303 w 2223713"/>
                <a:gd name="connsiteY3" fmla="*/ 226646 h 3200336"/>
                <a:gd name="connsiteX4" fmla="*/ 226646 w 2223713"/>
                <a:gd name="connsiteY4" fmla="*/ 8925 h 3200336"/>
                <a:gd name="connsiteX5" fmla="*/ 8925 w 2223713"/>
                <a:gd name="connsiteY5" fmla="*/ 371582 h 3200336"/>
                <a:gd name="connsiteX6" fmla="*/ 651328 w 2223713"/>
                <a:gd name="connsiteY6" fmla="*/ 1888032 h 3200336"/>
                <a:gd name="connsiteX7" fmla="*/ 1732969 w 2223713"/>
                <a:gd name="connsiteY7" fmla="*/ 3130432 h 3200336"/>
                <a:gd name="connsiteX8" fmla="*/ 1997525 w 2223713"/>
                <a:gd name="connsiteY8" fmla="*/ 3191192 h 3200336"/>
                <a:gd name="connsiteX9" fmla="*/ 2153853 w 2223713"/>
                <a:gd name="connsiteY9" fmla="*/ 3093091 h 3200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3713" h="3200336">
                  <a:moveTo>
                    <a:pt x="2153853" y="3093091"/>
                  </a:moveTo>
                  <a:cubicBezTo>
                    <a:pt x="2260182" y="2966509"/>
                    <a:pt x="2243094" y="2777902"/>
                    <a:pt x="2116512" y="2671573"/>
                  </a:cubicBezTo>
                  <a:cubicBezTo>
                    <a:pt x="1739931" y="2356385"/>
                    <a:pt x="1417780" y="1985500"/>
                    <a:pt x="1158288" y="1570945"/>
                  </a:cubicBezTo>
                  <a:cubicBezTo>
                    <a:pt x="900061" y="1157022"/>
                    <a:pt x="708290" y="705125"/>
                    <a:pt x="589303" y="226646"/>
                  </a:cubicBezTo>
                  <a:cubicBezTo>
                    <a:pt x="549429" y="66520"/>
                    <a:pt x="386772" y="-30948"/>
                    <a:pt x="226646" y="8925"/>
                  </a:cubicBezTo>
                  <a:cubicBezTo>
                    <a:pt x="66520" y="48799"/>
                    <a:pt x="-30948" y="211456"/>
                    <a:pt x="8925" y="371582"/>
                  </a:cubicBezTo>
                  <a:cubicBezTo>
                    <a:pt x="143102" y="910820"/>
                    <a:pt x="359557" y="1420945"/>
                    <a:pt x="651328" y="1888032"/>
                  </a:cubicBezTo>
                  <a:cubicBezTo>
                    <a:pt x="943732" y="2356385"/>
                    <a:pt x="1307654" y="2774737"/>
                    <a:pt x="1732969" y="3130432"/>
                  </a:cubicBezTo>
                  <a:cubicBezTo>
                    <a:pt x="1809551" y="3194356"/>
                    <a:pt x="1908285" y="3213976"/>
                    <a:pt x="1997525" y="3191192"/>
                  </a:cubicBezTo>
                  <a:cubicBezTo>
                    <a:pt x="2056386" y="3176634"/>
                    <a:pt x="2112082" y="3143091"/>
                    <a:pt x="2153853" y="3093091"/>
                  </a:cubicBezTo>
                  <a:close/>
                </a:path>
              </a:pathLst>
            </a:custGeom>
            <a:solidFill>
              <a:schemeClr val="tx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Graphic 26">
              <a:extLst>
                <a:ext uri="{FF2B5EF4-FFF2-40B4-BE49-F238E27FC236}">
                  <a16:creationId xmlns:a16="http://schemas.microsoft.com/office/drawing/2014/main" id="{C52EA6D5-D913-4438-9AB8-5A0B783C2AF8}"/>
                </a:ext>
              </a:extLst>
            </p:cNvPr>
            <p:cNvSpPr/>
            <p:nvPr/>
          </p:nvSpPr>
          <p:spPr>
            <a:xfrm>
              <a:off x="10611107" y="1930207"/>
              <a:ext cx="747051" cy="2145218"/>
            </a:xfrm>
            <a:custGeom>
              <a:avLst/>
              <a:gdLst>
                <a:gd name="connsiteX0" fmla="*/ 734239 w 747051"/>
                <a:gd name="connsiteY0" fmla="*/ 1867146 h 2145218"/>
                <a:gd name="connsiteX1" fmla="*/ 589302 w 747051"/>
                <a:gd name="connsiteY1" fmla="*/ 226646 h 2145218"/>
                <a:gd name="connsiteX2" fmla="*/ 226645 w 747051"/>
                <a:gd name="connsiteY2" fmla="*/ 8925 h 2145218"/>
                <a:gd name="connsiteX3" fmla="*/ 8925 w 747051"/>
                <a:gd name="connsiteY3" fmla="*/ 371582 h 2145218"/>
                <a:gd name="connsiteX4" fmla="*/ 137405 w 747051"/>
                <a:gd name="connsiteY4" fmla="*/ 1825374 h 2145218"/>
                <a:gd name="connsiteX5" fmla="*/ 415253 w 747051"/>
                <a:gd name="connsiteY5" fmla="*/ 2144360 h 2145218"/>
                <a:gd name="connsiteX6" fmla="*/ 508290 w 747051"/>
                <a:gd name="connsiteY6" fmla="*/ 2136132 h 2145218"/>
                <a:gd name="connsiteX7" fmla="*/ 734239 w 747051"/>
                <a:gd name="connsiteY7" fmla="*/ 1867146 h 2145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7051" h="2145218">
                  <a:moveTo>
                    <a:pt x="734239" y="1867146"/>
                  </a:moveTo>
                  <a:cubicBezTo>
                    <a:pt x="772846" y="1317781"/>
                    <a:pt x="724112" y="765885"/>
                    <a:pt x="589302" y="226646"/>
                  </a:cubicBezTo>
                  <a:cubicBezTo>
                    <a:pt x="549429" y="66520"/>
                    <a:pt x="386772" y="-30948"/>
                    <a:pt x="226645" y="8925"/>
                  </a:cubicBezTo>
                  <a:cubicBezTo>
                    <a:pt x="66520" y="48799"/>
                    <a:pt x="-30948" y="211456"/>
                    <a:pt x="8925" y="371582"/>
                  </a:cubicBezTo>
                  <a:cubicBezTo>
                    <a:pt x="127912" y="849429"/>
                    <a:pt x="171583" y="1338667"/>
                    <a:pt x="137405" y="1825374"/>
                  </a:cubicBezTo>
                  <a:cubicBezTo>
                    <a:pt x="126013" y="1989930"/>
                    <a:pt x="250063" y="2132967"/>
                    <a:pt x="415253" y="2144360"/>
                  </a:cubicBezTo>
                  <a:cubicBezTo>
                    <a:pt x="447531" y="2146892"/>
                    <a:pt x="478543" y="2143727"/>
                    <a:pt x="508290" y="2136132"/>
                  </a:cubicBezTo>
                  <a:cubicBezTo>
                    <a:pt x="630442" y="2106386"/>
                    <a:pt x="725378" y="2000057"/>
                    <a:pt x="734239" y="1867146"/>
                  </a:cubicBezTo>
                  <a:close/>
                </a:path>
              </a:pathLst>
            </a:custGeom>
            <a:solidFill>
              <a:schemeClr val="bg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Graphic 26">
              <a:extLst>
                <a:ext uri="{FF2B5EF4-FFF2-40B4-BE49-F238E27FC236}">
                  <a16:creationId xmlns:a16="http://schemas.microsoft.com/office/drawing/2014/main" id="{432AFDB6-8512-4E66-9DFB-1644E70853CA}"/>
                </a:ext>
              </a:extLst>
            </p:cNvPr>
            <p:cNvSpPr/>
            <p:nvPr/>
          </p:nvSpPr>
          <p:spPr>
            <a:xfrm>
              <a:off x="572481" y="6394687"/>
              <a:ext cx="10537663" cy="3492803"/>
            </a:xfrm>
            <a:custGeom>
              <a:avLst/>
              <a:gdLst>
                <a:gd name="connsiteX0" fmla="*/ 8943759 w 10537663"/>
                <a:gd name="connsiteY0" fmla="*/ 2512139 h 3492803"/>
                <a:gd name="connsiteX1" fmla="*/ 10467803 w 10537663"/>
                <a:gd name="connsiteY1" fmla="*/ 1185562 h 3492803"/>
                <a:gd name="connsiteX2" fmla="*/ 10430462 w 10537663"/>
                <a:gd name="connsiteY2" fmla="*/ 764045 h 3492803"/>
                <a:gd name="connsiteX3" fmla="*/ 10008944 w 10537663"/>
                <a:gd name="connsiteY3" fmla="*/ 801386 h 3492803"/>
                <a:gd name="connsiteX4" fmla="*/ 8626671 w 10537663"/>
                <a:gd name="connsiteY4" fmla="*/ 2004546 h 3492803"/>
                <a:gd name="connsiteX5" fmla="*/ 6938703 w 10537663"/>
                <a:gd name="connsiteY5" fmla="*/ 2719100 h 3492803"/>
                <a:gd name="connsiteX6" fmla="*/ 5112761 w 10537663"/>
                <a:gd name="connsiteY6" fmla="*/ 2880491 h 3492803"/>
                <a:gd name="connsiteX7" fmla="*/ 3327325 w 10537663"/>
                <a:gd name="connsiteY7" fmla="*/ 2467202 h 3492803"/>
                <a:gd name="connsiteX8" fmla="*/ 1755813 w 10537663"/>
                <a:gd name="connsiteY8" fmla="*/ 1522902 h 3492803"/>
                <a:gd name="connsiteX9" fmla="*/ 552653 w 10537663"/>
                <a:gd name="connsiteY9" fmla="*/ 140629 h 3492803"/>
                <a:gd name="connsiteX10" fmla="*/ 140629 w 10537663"/>
                <a:gd name="connsiteY10" fmla="*/ 45693 h 3492803"/>
                <a:gd name="connsiteX11" fmla="*/ 45693 w 10537663"/>
                <a:gd name="connsiteY11" fmla="*/ 457717 h 3492803"/>
                <a:gd name="connsiteX12" fmla="*/ 1372270 w 10537663"/>
                <a:gd name="connsiteY12" fmla="*/ 1981761 h 3492803"/>
                <a:gd name="connsiteX13" fmla="*/ 3103275 w 10537663"/>
                <a:gd name="connsiteY13" fmla="*/ 3021630 h 3492803"/>
                <a:gd name="connsiteX14" fmla="*/ 5071622 w 10537663"/>
                <a:gd name="connsiteY14" fmla="*/ 3477325 h 3492803"/>
                <a:gd name="connsiteX15" fmla="*/ 7083639 w 10537663"/>
                <a:gd name="connsiteY15" fmla="*/ 3299478 h 3492803"/>
                <a:gd name="connsiteX16" fmla="*/ 8943759 w 10537663"/>
                <a:gd name="connsiteY16" fmla="*/ 2512139 h 3492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37663" h="3492803">
                  <a:moveTo>
                    <a:pt x="8943759" y="2512139"/>
                  </a:moveTo>
                  <a:cubicBezTo>
                    <a:pt x="9518439" y="2153280"/>
                    <a:pt x="10031095" y="1707079"/>
                    <a:pt x="10467803" y="1185562"/>
                  </a:cubicBezTo>
                  <a:cubicBezTo>
                    <a:pt x="10574132" y="1058980"/>
                    <a:pt x="10557043" y="870373"/>
                    <a:pt x="10430462" y="764045"/>
                  </a:cubicBezTo>
                  <a:cubicBezTo>
                    <a:pt x="10303880" y="657716"/>
                    <a:pt x="10115273" y="674804"/>
                    <a:pt x="10008944" y="801386"/>
                  </a:cubicBezTo>
                  <a:cubicBezTo>
                    <a:pt x="9612743" y="1274169"/>
                    <a:pt x="9147555" y="1679231"/>
                    <a:pt x="8626671" y="2004546"/>
                  </a:cubicBezTo>
                  <a:cubicBezTo>
                    <a:pt x="8107053" y="2329228"/>
                    <a:pt x="7539334" y="2569733"/>
                    <a:pt x="6938703" y="2719100"/>
                  </a:cubicBezTo>
                  <a:cubicBezTo>
                    <a:pt x="6338073" y="2869100"/>
                    <a:pt x="5724151" y="2922897"/>
                    <a:pt x="5112761" y="2880491"/>
                  </a:cubicBezTo>
                  <a:cubicBezTo>
                    <a:pt x="4500105" y="2837454"/>
                    <a:pt x="3899475" y="2698847"/>
                    <a:pt x="3327325" y="2467202"/>
                  </a:cubicBezTo>
                  <a:cubicBezTo>
                    <a:pt x="2756441" y="2236191"/>
                    <a:pt x="2227963" y="1918470"/>
                    <a:pt x="1755813" y="1522902"/>
                  </a:cubicBezTo>
                  <a:cubicBezTo>
                    <a:pt x="1283030" y="1126701"/>
                    <a:pt x="877968" y="661513"/>
                    <a:pt x="552653" y="140629"/>
                  </a:cubicBezTo>
                  <a:cubicBezTo>
                    <a:pt x="465311" y="756"/>
                    <a:pt x="280502" y="-42282"/>
                    <a:pt x="140629" y="45693"/>
                  </a:cubicBezTo>
                  <a:cubicBezTo>
                    <a:pt x="756" y="133034"/>
                    <a:pt x="-42282" y="317844"/>
                    <a:pt x="45693" y="457717"/>
                  </a:cubicBezTo>
                  <a:cubicBezTo>
                    <a:pt x="404552" y="1032397"/>
                    <a:pt x="850753" y="1545054"/>
                    <a:pt x="1372270" y="1981761"/>
                  </a:cubicBezTo>
                  <a:cubicBezTo>
                    <a:pt x="1891888" y="2417202"/>
                    <a:pt x="2474797" y="2767201"/>
                    <a:pt x="3103275" y="3021630"/>
                  </a:cubicBezTo>
                  <a:cubicBezTo>
                    <a:pt x="3733653" y="3276693"/>
                    <a:pt x="4395675" y="3430489"/>
                    <a:pt x="5071622" y="3477325"/>
                  </a:cubicBezTo>
                  <a:cubicBezTo>
                    <a:pt x="5745670" y="3524160"/>
                    <a:pt x="6422250" y="3464667"/>
                    <a:pt x="7083639" y="3299478"/>
                  </a:cubicBezTo>
                  <a:cubicBezTo>
                    <a:pt x="7745029" y="3134921"/>
                    <a:pt x="8370976" y="2869732"/>
                    <a:pt x="8943759" y="2512139"/>
                  </a:cubicBezTo>
                  <a:close/>
                </a:path>
              </a:pathLst>
            </a:custGeom>
            <a:solidFill>
              <a:schemeClr val="bg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Graphic 26">
              <a:extLst>
                <a:ext uri="{FF2B5EF4-FFF2-40B4-BE49-F238E27FC236}">
                  <a16:creationId xmlns:a16="http://schemas.microsoft.com/office/drawing/2014/main" id="{FAD1ADB4-D233-4BE2-8B96-B7C817E06784}"/>
                </a:ext>
              </a:extLst>
            </p:cNvPr>
            <p:cNvSpPr/>
            <p:nvPr/>
          </p:nvSpPr>
          <p:spPr>
            <a:xfrm>
              <a:off x="2561836" y="5068866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solidFill>
              <a:schemeClr val="bg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Graphic 26">
              <a:extLst>
                <a:ext uri="{FF2B5EF4-FFF2-40B4-BE49-F238E27FC236}">
                  <a16:creationId xmlns:a16="http://schemas.microsoft.com/office/drawing/2014/main" id="{09ABA772-0F45-4A1C-A199-B1451C9C1AF9}"/>
                </a:ext>
              </a:extLst>
            </p:cNvPr>
            <p:cNvSpPr/>
            <p:nvPr/>
          </p:nvSpPr>
          <p:spPr>
            <a:xfrm>
              <a:off x="8221307" y="246101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2" y="598732"/>
                    <a:pt x="299366" y="598732"/>
                  </a:cubicBezTo>
                  <a:cubicBezTo>
                    <a:pt x="134031" y="598732"/>
                    <a:pt x="0" y="464701"/>
                    <a:pt x="0" y="299366"/>
                  </a:cubicBezTo>
                  <a:cubicBezTo>
                    <a:pt x="0" y="134031"/>
                    <a:pt x="134030" y="0"/>
                    <a:pt x="299366" y="0"/>
                  </a:cubicBezTo>
                  <a:cubicBezTo>
                    <a:pt x="464701" y="0"/>
                    <a:pt x="598732" y="134031"/>
                    <a:pt x="598732" y="299366"/>
                  </a:cubicBezTo>
                  <a:close/>
                </a:path>
              </a:pathLst>
            </a:custGeom>
            <a:solidFill>
              <a:schemeClr val="bg1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0C864D-B184-48E2-8C4C-53FC2E6BF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90140" y="1458299"/>
            <a:ext cx="8611720" cy="3941402"/>
          </a:xfrm>
        </p:spPr>
        <p:txBody>
          <a:bodyPr anchor="ctr">
            <a:noAutofit/>
          </a:bodyPr>
          <a:lstStyle>
            <a:lvl1pPr algn="ctr">
              <a:defRPr sz="60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>
                <a:solidFill>
                  <a:schemeClr val="accent6"/>
                </a:solidFill>
              </a:defRPr>
            </a:lvl2pPr>
            <a:lvl3pPr algn="ctr">
              <a:defRPr b="1">
                <a:solidFill>
                  <a:schemeClr val="accent6"/>
                </a:solidFill>
              </a:defRPr>
            </a:lvl3pPr>
            <a:lvl4pPr algn="ctr">
              <a:defRPr b="1">
                <a:solidFill>
                  <a:schemeClr val="accent6"/>
                </a:solidFill>
              </a:defRPr>
            </a:lvl4pPr>
            <a:lvl5pPr algn="ctr">
              <a:defRPr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Impactful statement goes here.</a:t>
            </a:r>
            <a:endParaRPr lang="en-GB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AA676042-4A89-4A19-932D-65120CBAB2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1364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Full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992188" y="1924046"/>
            <a:ext cx="10207625" cy="3936347"/>
          </a:xfrm>
        </p:spPr>
        <p:txBody>
          <a:bodyPr anchor="ctr">
            <a:normAutofit/>
          </a:bodyPr>
          <a:lstStyle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1987" y="1425568"/>
            <a:ext cx="10208027" cy="488955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2FABA672-7054-46D6-8734-1C46875CE0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B7AF8B-4C0D-448F-934D-760AF204C71C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164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White - No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aphic 8">
            <a:extLst>
              <a:ext uri="{FF2B5EF4-FFF2-40B4-BE49-F238E27FC236}">
                <a16:creationId xmlns:a16="http://schemas.microsoft.com/office/drawing/2014/main" id="{726AEA4E-E270-4CAA-97F4-C7AD065F9D3A}"/>
              </a:ext>
            </a:extLst>
          </p:cNvPr>
          <p:cNvGrpSpPr/>
          <p:nvPr/>
        </p:nvGrpSpPr>
        <p:grpSpPr>
          <a:xfrm>
            <a:off x="4874388" y="-455826"/>
            <a:ext cx="7080367" cy="7769653"/>
            <a:chOff x="4874388" y="-455826"/>
            <a:chExt cx="7080367" cy="7769653"/>
          </a:xfrm>
        </p:grpSpPr>
        <p:sp>
          <p:nvSpPr>
            <p:cNvPr id="16" name="Graphic 8">
              <a:extLst>
                <a:ext uri="{FF2B5EF4-FFF2-40B4-BE49-F238E27FC236}">
                  <a16:creationId xmlns:a16="http://schemas.microsoft.com/office/drawing/2014/main" id="{7B97E23E-396F-4A53-AEF9-79F877255667}"/>
                </a:ext>
              </a:extLst>
            </p:cNvPr>
            <p:cNvSpPr/>
            <p:nvPr/>
          </p:nvSpPr>
          <p:spPr>
            <a:xfrm>
              <a:off x="10875650" y="2380137"/>
              <a:ext cx="667592" cy="2097702"/>
            </a:xfrm>
            <a:custGeom>
              <a:avLst/>
              <a:gdLst>
                <a:gd name="connsiteX0" fmla="*/ 272772 w 667592"/>
                <a:gd name="connsiteY0" fmla="*/ 2097703 h 2097702"/>
                <a:gd name="connsiteX1" fmla="*/ 188485 w 667592"/>
                <a:gd name="connsiteY1" fmla="*/ 2084394 h 2097702"/>
                <a:gd name="connsiteX2" fmla="*/ 13572 w 667592"/>
                <a:gd name="connsiteY2" fmla="*/ 1740907 h 2097702"/>
                <a:gd name="connsiteX3" fmla="*/ 122575 w 667592"/>
                <a:gd name="connsiteY3" fmla="*/ 1048863 h 2097702"/>
                <a:gd name="connsiteX4" fmla="*/ 13572 w 667592"/>
                <a:gd name="connsiteY4" fmla="*/ 356818 h 2097702"/>
                <a:gd name="connsiteX5" fmla="*/ 188485 w 667592"/>
                <a:gd name="connsiteY5" fmla="*/ 13331 h 2097702"/>
                <a:gd name="connsiteX6" fmla="*/ 531972 w 667592"/>
                <a:gd name="connsiteY6" fmla="*/ 188244 h 2097702"/>
                <a:gd name="connsiteX7" fmla="*/ 667593 w 667592"/>
                <a:gd name="connsiteY7" fmla="*/ 1048863 h 2097702"/>
                <a:gd name="connsiteX8" fmla="*/ 531972 w 667592"/>
                <a:gd name="connsiteY8" fmla="*/ 1909482 h 2097702"/>
                <a:gd name="connsiteX9" fmla="*/ 272772 w 667592"/>
                <a:gd name="connsiteY9" fmla="*/ 2097703 h 209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7592" h="2097702">
                  <a:moveTo>
                    <a:pt x="272772" y="2097703"/>
                  </a:moveTo>
                  <a:cubicBezTo>
                    <a:pt x="244887" y="2097703"/>
                    <a:pt x="216369" y="2093266"/>
                    <a:pt x="188485" y="2084394"/>
                  </a:cubicBezTo>
                  <a:cubicBezTo>
                    <a:pt x="45259" y="2038131"/>
                    <a:pt x="-33325" y="1884132"/>
                    <a:pt x="13572" y="1740907"/>
                  </a:cubicBezTo>
                  <a:cubicBezTo>
                    <a:pt x="85819" y="1518464"/>
                    <a:pt x="122575" y="1285248"/>
                    <a:pt x="122575" y="1048863"/>
                  </a:cubicBezTo>
                  <a:cubicBezTo>
                    <a:pt x="122575" y="812478"/>
                    <a:pt x="85819" y="579261"/>
                    <a:pt x="13572" y="356818"/>
                  </a:cubicBezTo>
                  <a:cubicBezTo>
                    <a:pt x="-32691" y="213593"/>
                    <a:pt x="45259" y="60228"/>
                    <a:pt x="188485" y="13331"/>
                  </a:cubicBezTo>
                  <a:cubicBezTo>
                    <a:pt x="331710" y="-32932"/>
                    <a:pt x="485075" y="45018"/>
                    <a:pt x="531972" y="188244"/>
                  </a:cubicBezTo>
                  <a:cubicBezTo>
                    <a:pt x="621963" y="465188"/>
                    <a:pt x="667593" y="754807"/>
                    <a:pt x="667593" y="1048863"/>
                  </a:cubicBezTo>
                  <a:cubicBezTo>
                    <a:pt x="667593" y="1342918"/>
                    <a:pt x="621963" y="1631904"/>
                    <a:pt x="531972" y="1909482"/>
                  </a:cubicBezTo>
                  <a:cubicBezTo>
                    <a:pt x="494581" y="2024189"/>
                    <a:pt x="387479" y="2097703"/>
                    <a:pt x="272772" y="2097703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Graphic 8">
              <a:extLst>
                <a:ext uri="{FF2B5EF4-FFF2-40B4-BE49-F238E27FC236}">
                  <a16:creationId xmlns:a16="http://schemas.microsoft.com/office/drawing/2014/main" id="{EA9E52D6-31EF-4FA1-B7D9-EAA0154F5E8E}"/>
                </a:ext>
              </a:extLst>
            </p:cNvPr>
            <p:cNvSpPr/>
            <p:nvPr/>
          </p:nvSpPr>
          <p:spPr>
            <a:xfrm>
              <a:off x="6097244" y="1679936"/>
              <a:ext cx="902651" cy="1245240"/>
            </a:xfrm>
            <a:custGeom>
              <a:avLst/>
              <a:gdLst>
                <a:gd name="connsiteX0" fmla="*/ 272772 w 902651"/>
                <a:gd name="connsiteY0" fmla="*/ 1245241 h 1245240"/>
                <a:gd name="connsiteX1" fmla="*/ 188484 w 902651"/>
                <a:gd name="connsiteY1" fmla="*/ 1231932 h 1245240"/>
                <a:gd name="connsiteX2" fmla="*/ 13572 w 902651"/>
                <a:gd name="connsiteY2" fmla="*/ 888445 h 1245240"/>
                <a:gd name="connsiteX3" fmla="*/ 409660 w 902651"/>
                <a:gd name="connsiteY3" fmla="*/ 112113 h 1245240"/>
                <a:gd name="connsiteX4" fmla="*/ 790538 w 902651"/>
                <a:gd name="connsiteY4" fmla="*/ 51908 h 1245240"/>
                <a:gd name="connsiteX5" fmla="*/ 850744 w 902651"/>
                <a:gd name="connsiteY5" fmla="*/ 432786 h 1245240"/>
                <a:gd name="connsiteX6" fmla="*/ 532606 w 902651"/>
                <a:gd name="connsiteY6" fmla="*/ 1056386 h 1245240"/>
                <a:gd name="connsiteX7" fmla="*/ 272772 w 902651"/>
                <a:gd name="connsiteY7" fmla="*/ 1245241 h 124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651" h="1245240">
                  <a:moveTo>
                    <a:pt x="272772" y="1245241"/>
                  </a:moveTo>
                  <a:cubicBezTo>
                    <a:pt x="244887" y="1245241"/>
                    <a:pt x="216369" y="1240804"/>
                    <a:pt x="188484" y="1231932"/>
                  </a:cubicBezTo>
                  <a:cubicBezTo>
                    <a:pt x="45259" y="1185669"/>
                    <a:pt x="-33325" y="1031670"/>
                    <a:pt x="13572" y="888445"/>
                  </a:cubicBezTo>
                  <a:cubicBezTo>
                    <a:pt x="103563" y="610233"/>
                    <a:pt x="237283" y="349132"/>
                    <a:pt x="409660" y="112113"/>
                  </a:cubicBezTo>
                  <a:cubicBezTo>
                    <a:pt x="498384" y="-9565"/>
                    <a:pt x="668860" y="-36182"/>
                    <a:pt x="790538" y="51908"/>
                  </a:cubicBezTo>
                  <a:cubicBezTo>
                    <a:pt x="912217" y="140632"/>
                    <a:pt x="938834" y="311108"/>
                    <a:pt x="850744" y="432786"/>
                  </a:cubicBezTo>
                  <a:cubicBezTo>
                    <a:pt x="711954" y="623541"/>
                    <a:pt x="604852" y="833309"/>
                    <a:pt x="532606" y="1056386"/>
                  </a:cubicBezTo>
                  <a:cubicBezTo>
                    <a:pt x="494581" y="1172360"/>
                    <a:pt x="387479" y="1245241"/>
                    <a:pt x="272772" y="1245241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Graphic 8">
              <a:extLst>
                <a:ext uri="{FF2B5EF4-FFF2-40B4-BE49-F238E27FC236}">
                  <a16:creationId xmlns:a16="http://schemas.microsoft.com/office/drawing/2014/main" id="{D249FE50-AD3F-4294-BCB6-BF9904692F2D}"/>
                </a:ext>
              </a:extLst>
            </p:cNvPr>
            <p:cNvSpPr/>
            <p:nvPr/>
          </p:nvSpPr>
          <p:spPr>
            <a:xfrm>
              <a:off x="6363463" y="-455826"/>
              <a:ext cx="5591292" cy="2033672"/>
            </a:xfrm>
            <a:custGeom>
              <a:avLst/>
              <a:gdLst>
                <a:gd name="connsiteX0" fmla="*/ 5318569 w 5591292"/>
                <a:gd name="connsiteY0" fmla="*/ 2033672 h 2033672"/>
                <a:gd name="connsiteX1" fmla="*/ 5098027 w 5591292"/>
                <a:gd name="connsiteY1" fmla="*/ 1921500 h 2033672"/>
                <a:gd name="connsiteX2" fmla="*/ 4359085 w 5591292"/>
                <a:gd name="connsiteY2" fmla="*/ 1182559 h 2033672"/>
                <a:gd name="connsiteX3" fmla="*/ 3428754 w 5591292"/>
                <a:gd name="connsiteY3" fmla="*/ 707888 h 2033672"/>
                <a:gd name="connsiteX4" fmla="*/ 2395756 w 5591292"/>
                <a:gd name="connsiteY4" fmla="*/ 545017 h 2033672"/>
                <a:gd name="connsiteX5" fmla="*/ 1363392 w 5591292"/>
                <a:gd name="connsiteY5" fmla="*/ 707254 h 2033672"/>
                <a:gd name="connsiteX6" fmla="*/ 433060 w 5591292"/>
                <a:gd name="connsiteY6" fmla="*/ 1181925 h 2033672"/>
                <a:gd name="connsiteX7" fmla="*/ 52182 w 5591292"/>
                <a:gd name="connsiteY7" fmla="*/ 1121720 h 2033672"/>
                <a:gd name="connsiteX8" fmla="*/ 112388 w 5591292"/>
                <a:gd name="connsiteY8" fmla="*/ 740842 h 2033672"/>
                <a:gd name="connsiteX9" fmla="*/ 1195451 w 5591292"/>
                <a:gd name="connsiteY9" fmla="*/ 188221 h 2033672"/>
                <a:gd name="connsiteX10" fmla="*/ 2395756 w 5591292"/>
                <a:gd name="connsiteY10" fmla="*/ 0 h 2033672"/>
                <a:gd name="connsiteX11" fmla="*/ 3596695 w 5591292"/>
                <a:gd name="connsiteY11" fmla="*/ 189488 h 2033672"/>
                <a:gd name="connsiteX12" fmla="*/ 4679758 w 5591292"/>
                <a:gd name="connsiteY12" fmla="*/ 742110 h 2033672"/>
                <a:gd name="connsiteX13" fmla="*/ 5539111 w 5591292"/>
                <a:gd name="connsiteY13" fmla="*/ 1601461 h 2033672"/>
                <a:gd name="connsiteX14" fmla="*/ 5478905 w 5591292"/>
                <a:gd name="connsiteY14" fmla="*/ 1982339 h 2033672"/>
                <a:gd name="connsiteX15" fmla="*/ 5318569 w 5591292"/>
                <a:gd name="connsiteY15" fmla="*/ 2033672 h 203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91292" h="2033672">
                  <a:moveTo>
                    <a:pt x="5318569" y="2033672"/>
                  </a:moveTo>
                  <a:cubicBezTo>
                    <a:pt x="5234281" y="2033672"/>
                    <a:pt x="5151262" y="1995014"/>
                    <a:pt x="5098027" y="1921500"/>
                  </a:cubicBezTo>
                  <a:cubicBezTo>
                    <a:pt x="4891427" y="1637585"/>
                    <a:pt x="4642367" y="1389158"/>
                    <a:pt x="4359085" y="1182559"/>
                  </a:cubicBezTo>
                  <a:cubicBezTo>
                    <a:pt x="4074536" y="975326"/>
                    <a:pt x="3761467" y="815624"/>
                    <a:pt x="3428754" y="707888"/>
                  </a:cubicBezTo>
                  <a:cubicBezTo>
                    <a:pt x="3096040" y="599518"/>
                    <a:pt x="2748750" y="545017"/>
                    <a:pt x="2395756" y="545017"/>
                  </a:cubicBezTo>
                  <a:cubicBezTo>
                    <a:pt x="2042762" y="545017"/>
                    <a:pt x="1695472" y="599518"/>
                    <a:pt x="1363392" y="707254"/>
                  </a:cubicBezTo>
                  <a:cubicBezTo>
                    <a:pt x="1030044" y="815624"/>
                    <a:pt x="716976" y="975326"/>
                    <a:pt x="433060" y="1181925"/>
                  </a:cubicBezTo>
                  <a:cubicBezTo>
                    <a:pt x="311382" y="1270649"/>
                    <a:pt x="140906" y="1243398"/>
                    <a:pt x="52182" y="1121720"/>
                  </a:cubicBezTo>
                  <a:cubicBezTo>
                    <a:pt x="-36541" y="1000042"/>
                    <a:pt x="-9291" y="829566"/>
                    <a:pt x="112388" y="740842"/>
                  </a:cubicBezTo>
                  <a:cubicBezTo>
                    <a:pt x="443200" y="500021"/>
                    <a:pt x="807601" y="314335"/>
                    <a:pt x="1195451" y="188221"/>
                  </a:cubicBezTo>
                  <a:cubicBezTo>
                    <a:pt x="1581399" y="63374"/>
                    <a:pt x="1985726" y="0"/>
                    <a:pt x="2395756" y="0"/>
                  </a:cubicBezTo>
                  <a:cubicBezTo>
                    <a:pt x="2805786" y="0"/>
                    <a:pt x="3210113" y="63374"/>
                    <a:pt x="3596695" y="189488"/>
                  </a:cubicBezTo>
                  <a:cubicBezTo>
                    <a:pt x="3984544" y="315603"/>
                    <a:pt x="4348945" y="501288"/>
                    <a:pt x="4679758" y="742110"/>
                  </a:cubicBezTo>
                  <a:cubicBezTo>
                    <a:pt x="5009937" y="982297"/>
                    <a:pt x="5298923" y="1271283"/>
                    <a:pt x="5539111" y="1601461"/>
                  </a:cubicBezTo>
                  <a:cubicBezTo>
                    <a:pt x="5627834" y="1723139"/>
                    <a:pt x="5600583" y="1893616"/>
                    <a:pt x="5478905" y="1982339"/>
                  </a:cubicBezTo>
                  <a:cubicBezTo>
                    <a:pt x="5430108" y="2017195"/>
                    <a:pt x="5374338" y="2033672"/>
                    <a:pt x="5318569" y="2033672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Graphic 8">
              <a:extLst>
                <a:ext uri="{FF2B5EF4-FFF2-40B4-BE49-F238E27FC236}">
                  <a16:creationId xmlns:a16="http://schemas.microsoft.com/office/drawing/2014/main" id="{5A110A60-A130-4267-A6FF-E5A5A23B7106}"/>
                </a:ext>
              </a:extLst>
            </p:cNvPr>
            <p:cNvSpPr/>
            <p:nvPr/>
          </p:nvSpPr>
          <p:spPr>
            <a:xfrm>
              <a:off x="4874388" y="3156492"/>
              <a:ext cx="1234108" cy="2668679"/>
            </a:xfrm>
            <a:custGeom>
              <a:avLst/>
              <a:gdLst>
                <a:gd name="connsiteX0" fmla="*/ 962652 w 1234108"/>
                <a:gd name="connsiteY0" fmla="*/ 2668680 h 2668679"/>
                <a:gd name="connsiteX1" fmla="*/ 742111 w 1234108"/>
                <a:gd name="connsiteY1" fmla="*/ 2556508 h 2668679"/>
                <a:gd name="connsiteX2" fmla="*/ 189489 w 1234108"/>
                <a:gd name="connsiteY2" fmla="*/ 1473446 h 2668679"/>
                <a:gd name="connsiteX3" fmla="*/ 0 w 1234108"/>
                <a:gd name="connsiteY3" fmla="*/ 272508 h 2668679"/>
                <a:gd name="connsiteX4" fmla="*/ 272509 w 1234108"/>
                <a:gd name="connsiteY4" fmla="*/ 0 h 2668679"/>
                <a:gd name="connsiteX5" fmla="*/ 545017 w 1234108"/>
                <a:gd name="connsiteY5" fmla="*/ 272508 h 2668679"/>
                <a:gd name="connsiteX6" fmla="*/ 707255 w 1234108"/>
                <a:gd name="connsiteY6" fmla="*/ 1304871 h 2668679"/>
                <a:gd name="connsiteX7" fmla="*/ 1181927 w 1234108"/>
                <a:gd name="connsiteY7" fmla="*/ 2235835 h 2668679"/>
                <a:gd name="connsiteX8" fmla="*/ 1121721 w 1234108"/>
                <a:gd name="connsiteY8" fmla="*/ 2616713 h 2668679"/>
                <a:gd name="connsiteX9" fmla="*/ 962652 w 1234108"/>
                <a:gd name="connsiteY9" fmla="*/ 2668680 h 2668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4108" h="2668679">
                  <a:moveTo>
                    <a:pt x="962652" y="2668680"/>
                  </a:moveTo>
                  <a:cubicBezTo>
                    <a:pt x="878365" y="2668680"/>
                    <a:pt x="795345" y="2630022"/>
                    <a:pt x="742111" y="2556508"/>
                  </a:cubicBezTo>
                  <a:cubicBezTo>
                    <a:pt x="501289" y="2225696"/>
                    <a:pt x="315603" y="1861295"/>
                    <a:pt x="189489" y="1473446"/>
                  </a:cubicBezTo>
                  <a:cubicBezTo>
                    <a:pt x="63374" y="1086864"/>
                    <a:pt x="0" y="682538"/>
                    <a:pt x="0" y="272508"/>
                  </a:cubicBezTo>
                  <a:cubicBezTo>
                    <a:pt x="0" y="122312"/>
                    <a:pt x="122312" y="0"/>
                    <a:pt x="272509" y="0"/>
                  </a:cubicBezTo>
                  <a:cubicBezTo>
                    <a:pt x="422705" y="0"/>
                    <a:pt x="545017" y="122312"/>
                    <a:pt x="545017" y="272508"/>
                  </a:cubicBezTo>
                  <a:cubicBezTo>
                    <a:pt x="545017" y="625502"/>
                    <a:pt x="599519" y="972791"/>
                    <a:pt x="707255" y="1304871"/>
                  </a:cubicBezTo>
                  <a:cubicBezTo>
                    <a:pt x="815624" y="1638218"/>
                    <a:pt x="975327" y="1951286"/>
                    <a:pt x="1181927" y="2235835"/>
                  </a:cubicBezTo>
                  <a:cubicBezTo>
                    <a:pt x="1270650" y="2357513"/>
                    <a:pt x="1243400" y="2527990"/>
                    <a:pt x="1121721" y="2616713"/>
                  </a:cubicBezTo>
                  <a:cubicBezTo>
                    <a:pt x="1074191" y="2651569"/>
                    <a:pt x="1017788" y="2668680"/>
                    <a:pt x="962652" y="2668680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Graphic 8">
              <a:extLst>
                <a:ext uri="{FF2B5EF4-FFF2-40B4-BE49-F238E27FC236}">
                  <a16:creationId xmlns:a16="http://schemas.microsoft.com/office/drawing/2014/main" id="{BE0D807C-8331-4063-85DF-BACD56B5C8B9}"/>
                </a:ext>
              </a:extLst>
            </p:cNvPr>
            <p:cNvSpPr/>
            <p:nvPr/>
          </p:nvSpPr>
          <p:spPr>
            <a:xfrm>
              <a:off x="7369796" y="6592368"/>
              <a:ext cx="2778846" cy="721459"/>
            </a:xfrm>
            <a:custGeom>
              <a:avLst/>
              <a:gdLst>
                <a:gd name="connsiteX0" fmla="*/ 1389423 w 2778846"/>
                <a:gd name="connsiteY0" fmla="*/ 721460 h 721459"/>
                <a:gd name="connsiteX1" fmla="*/ 188485 w 2778846"/>
                <a:gd name="connsiteY1" fmla="*/ 531971 h 721459"/>
                <a:gd name="connsiteX2" fmla="*/ 13572 w 2778846"/>
                <a:gd name="connsiteY2" fmla="*/ 188484 h 721459"/>
                <a:gd name="connsiteX3" fmla="*/ 357060 w 2778846"/>
                <a:gd name="connsiteY3" fmla="*/ 13572 h 721459"/>
                <a:gd name="connsiteX4" fmla="*/ 1389423 w 2778846"/>
                <a:gd name="connsiteY4" fmla="*/ 175809 h 721459"/>
                <a:gd name="connsiteX5" fmla="*/ 2421787 w 2778846"/>
                <a:gd name="connsiteY5" fmla="*/ 13572 h 721459"/>
                <a:gd name="connsiteX6" fmla="*/ 2765275 w 2778846"/>
                <a:gd name="connsiteY6" fmla="*/ 188484 h 721459"/>
                <a:gd name="connsiteX7" fmla="*/ 2590362 w 2778846"/>
                <a:gd name="connsiteY7" fmla="*/ 531971 h 721459"/>
                <a:gd name="connsiteX8" fmla="*/ 1389423 w 2778846"/>
                <a:gd name="connsiteY8" fmla="*/ 721460 h 721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8846" h="721459">
                  <a:moveTo>
                    <a:pt x="1389423" y="721460"/>
                  </a:moveTo>
                  <a:cubicBezTo>
                    <a:pt x="979393" y="721460"/>
                    <a:pt x="575066" y="658086"/>
                    <a:pt x="188485" y="531971"/>
                  </a:cubicBezTo>
                  <a:cubicBezTo>
                    <a:pt x="45259" y="485709"/>
                    <a:pt x="-33325" y="331709"/>
                    <a:pt x="13572" y="188484"/>
                  </a:cubicBezTo>
                  <a:cubicBezTo>
                    <a:pt x="59835" y="45259"/>
                    <a:pt x="213834" y="-33325"/>
                    <a:pt x="357060" y="13572"/>
                  </a:cubicBezTo>
                  <a:cubicBezTo>
                    <a:pt x="689140" y="121308"/>
                    <a:pt x="1036430" y="175809"/>
                    <a:pt x="1389423" y="175809"/>
                  </a:cubicBezTo>
                  <a:cubicBezTo>
                    <a:pt x="1742417" y="175809"/>
                    <a:pt x="2089707" y="121308"/>
                    <a:pt x="2421787" y="13572"/>
                  </a:cubicBezTo>
                  <a:cubicBezTo>
                    <a:pt x="2565013" y="-32691"/>
                    <a:pt x="2718378" y="45259"/>
                    <a:pt x="2765275" y="188484"/>
                  </a:cubicBezTo>
                  <a:cubicBezTo>
                    <a:pt x="2812172" y="331709"/>
                    <a:pt x="2733588" y="485074"/>
                    <a:pt x="2590362" y="531971"/>
                  </a:cubicBezTo>
                  <a:cubicBezTo>
                    <a:pt x="2203780" y="658086"/>
                    <a:pt x="1799454" y="721460"/>
                    <a:pt x="1389423" y="721460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Graphic 8">
              <a:extLst>
                <a:ext uri="{FF2B5EF4-FFF2-40B4-BE49-F238E27FC236}">
                  <a16:creationId xmlns:a16="http://schemas.microsoft.com/office/drawing/2014/main" id="{D5A18019-7F56-409E-BE64-40C51C5080C3}"/>
                </a:ext>
              </a:extLst>
            </p:cNvPr>
            <p:cNvSpPr/>
            <p:nvPr/>
          </p:nvSpPr>
          <p:spPr>
            <a:xfrm>
              <a:off x="5730572" y="833200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7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7"/>
                    <a:pt x="272509" y="545017"/>
                  </a:cubicBezTo>
                  <a:cubicBezTo>
                    <a:pt x="122006" y="545017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Graphic 8">
              <a:extLst>
                <a:ext uri="{FF2B5EF4-FFF2-40B4-BE49-F238E27FC236}">
                  <a16:creationId xmlns:a16="http://schemas.microsoft.com/office/drawing/2014/main" id="{426CF1F7-3455-48CE-B2B9-E7D9706647BE}"/>
                </a:ext>
              </a:extLst>
            </p:cNvPr>
            <p:cNvSpPr/>
            <p:nvPr/>
          </p:nvSpPr>
          <p:spPr>
            <a:xfrm>
              <a:off x="5973928" y="3150788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6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6"/>
                    <a:pt x="272509" y="545016"/>
                  </a:cubicBezTo>
                  <a:cubicBezTo>
                    <a:pt x="122006" y="545016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2C5D59D-EC81-384A-BD76-B7D351864B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580" y="778479"/>
            <a:ext cx="1368000" cy="448468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wrap="square" lIns="144000" tIns="36000" rIns="144000" bIns="36000" anchor="ctr">
            <a:no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marL="457189" indent="0">
              <a:buNone/>
              <a:defRPr b="1">
                <a:latin typeface="+mj-lt"/>
              </a:defRPr>
            </a:lvl2pPr>
            <a:lvl3pPr marL="914377" indent="0">
              <a:buNone/>
              <a:defRPr b="1">
                <a:latin typeface="+mj-lt"/>
              </a:defRPr>
            </a:lvl3pPr>
            <a:lvl4pPr marL="1371566" indent="0">
              <a:buNone/>
              <a:defRPr b="1">
                <a:latin typeface="+mj-lt"/>
              </a:defRPr>
            </a:lvl4pPr>
            <a:lvl5pPr marL="1828754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US" dirty="0"/>
              <a:t>Categor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0509" y="2380137"/>
            <a:ext cx="3620656" cy="1458644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985795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tx2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 dirty="0"/>
              <a:t>Name and Supporting Info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D86C128-2CEE-448E-9DCE-51A55F1E8BC8}"/>
              </a:ext>
            </a:extLst>
          </p:cNvPr>
          <p:cNvGrpSpPr/>
          <p:nvPr userDrawn="1"/>
        </p:nvGrpSpPr>
        <p:grpSpPr>
          <a:xfrm>
            <a:off x="6097485" y="645613"/>
            <a:ext cx="6545298" cy="5967297"/>
            <a:chOff x="6097485" y="645613"/>
            <a:chExt cx="6545298" cy="5967297"/>
          </a:xfrm>
        </p:grpSpPr>
        <p:sp>
          <p:nvSpPr>
            <p:cNvPr id="17" name="Graphic 8">
              <a:extLst>
                <a:ext uri="{FF2B5EF4-FFF2-40B4-BE49-F238E27FC236}">
                  <a16:creationId xmlns:a16="http://schemas.microsoft.com/office/drawing/2014/main" id="{A064CE36-E0CA-4984-AD9B-40C3D9FB6558}"/>
                </a:ext>
              </a:extLst>
            </p:cNvPr>
            <p:cNvSpPr/>
            <p:nvPr userDrawn="1"/>
          </p:nvSpPr>
          <p:spPr>
            <a:xfrm>
              <a:off x="6097485" y="3932801"/>
              <a:ext cx="1457567" cy="1800478"/>
            </a:xfrm>
            <a:custGeom>
              <a:avLst/>
              <a:gdLst>
                <a:gd name="connsiteX0" fmla="*/ 1185118 w 1457567"/>
                <a:gd name="connsiteY0" fmla="*/ 1800479 h 1800478"/>
                <a:gd name="connsiteX1" fmla="*/ 1024782 w 1457567"/>
                <a:gd name="connsiteY1" fmla="*/ 1748512 h 1800478"/>
                <a:gd name="connsiteX2" fmla="*/ 409419 w 1457567"/>
                <a:gd name="connsiteY2" fmla="*/ 1133150 h 1800478"/>
                <a:gd name="connsiteX3" fmla="*/ 13331 w 1457567"/>
                <a:gd name="connsiteY3" fmla="*/ 356819 h 1800478"/>
                <a:gd name="connsiteX4" fmla="*/ 188244 w 1457567"/>
                <a:gd name="connsiteY4" fmla="*/ 13331 h 1800478"/>
                <a:gd name="connsiteX5" fmla="*/ 531731 w 1457567"/>
                <a:gd name="connsiteY5" fmla="*/ 188244 h 1800478"/>
                <a:gd name="connsiteX6" fmla="*/ 849869 w 1457567"/>
                <a:gd name="connsiteY6" fmla="*/ 811844 h 1800478"/>
                <a:gd name="connsiteX7" fmla="*/ 1345455 w 1457567"/>
                <a:gd name="connsiteY7" fmla="*/ 1307429 h 1800478"/>
                <a:gd name="connsiteX8" fmla="*/ 1405660 w 1457567"/>
                <a:gd name="connsiteY8" fmla="*/ 1688307 h 1800478"/>
                <a:gd name="connsiteX9" fmla="*/ 1185118 w 1457567"/>
                <a:gd name="connsiteY9" fmla="*/ 1800479 h 180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57567" h="1800478">
                  <a:moveTo>
                    <a:pt x="1185118" y="1800479"/>
                  </a:moveTo>
                  <a:cubicBezTo>
                    <a:pt x="1129349" y="1800479"/>
                    <a:pt x="1073580" y="1783368"/>
                    <a:pt x="1024782" y="1748512"/>
                  </a:cubicBezTo>
                  <a:cubicBezTo>
                    <a:pt x="788396" y="1576135"/>
                    <a:pt x="581163" y="1369535"/>
                    <a:pt x="409419" y="1133150"/>
                  </a:cubicBezTo>
                  <a:cubicBezTo>
                    <a:pt x="237042" y="896132"/>
                    <a:pt x="103323" y="635031"/>
                    <a:pt x="13331" y="356819"/>
                  </a:cubicBezTo>
                  <a:cubicBezTo>
                    <a:pt x="-32932" y="213593"/>
                    <a:pt x="45018" y="60228"/>
                    <a:pt x="188244" y="13331"/>
                  </a:cubicBezTo>
                  <a:cubicBezTo>
                    <a:pt x="331469" y="-32932"/>
                    <a:pt x="484834" y="45018"/>
                    <a:pt x="531731" y="188244"/>
                  </a:cubicBezTo>
                  <a:cubicBezTo>
                    <a:pt x="603978" y="411320"/>
                    <a:pt x="711080" y="621088"/>
                    <a:pt x="849869" y="811844"/>
                  </a:cubicBezTo>
                  <a:cubicBezTo>
                    <a:pt x="988658" y="1001966"/>
                    <a:pt x="1155332" y="1169274"/>
                    <a:pt x="1345455" y="1307429"/>
                  </a:cubicBezTo>
                  <a:cubicBezTo>
                    <a:pt x="1467133" y="1396152"/>
                    <a:pt x="1493750" y="1566629"/>
                    <a:pt x="1405660" y="1688307"/>
                  </a:cubicBezTo>
                  <a:cubicBezTo>
                    <a:pt x="1352426" y="1761821"/>
                    <a:pt x="1269406" y="1800479"/>
                    <a:pt x="1185118" y="1800479"/>
                  </a:cubicBezTo>
                  <a:close/>
                </a:path>
              </a:pathLst>
            </a:custGeom>
            <a:solidFill>
              <a:schemeClr val="tx2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Graphic 8">
              <a:extLst>
                <a:ext uri="{FF2B5EF4-FFF2-40B4-BE49-F238E27FC236}">
                  <a16:creationId xmlns:a16="http://schemas.microsoft.com/office/drawing/2014/main" id="{E77B306E-1139-4D50-911E-E9BC0290AEC9}"/>
                </a:ext>
              </a:extLst>
            </p:cNvPr>
            <p:cNvSpPr/>
            <p:nvPr userDrawn="1"/>
          </p:nvSpPr>
          <p:spPr>
            <a:xfrm>
              <a:off x="8486711" y="5188681"/>
              <a:ext cx="2021215" cy="1024339"/>
            </a:xfrm>
            <a:custGeom>
              <a:avLst/>
              <a:gdLst>
                <a:gd name="connsiteX0" fmla="*/ 272509 w 2021215"/>
                <a:gd name="connsiteY0" fmla="*/ 1024340 h 1024339"/>
                <a:gd name="connsiteX1" fmla="*/ 0 w 2021215"/>
                <a:gd name="connsiteY1" fmla="*/ 751831 h 1024339"/>
                <a:gd name="connsiteX2" fmla="*/ 272509 w 2021215"/>
                <a:gd name="connsiteY2" fmla="*/ 479323 h 1024339"/>
                <a:gd name="connsiteX3" fmla="*/ 964554 w 2021215"/>
                <a:gd name="connsiteY3" fmla="*/ 370319 h 1024339"/>
                <a:gd name="connsiteX4" fmla="*/ 1588154 w 2021215"/>
                <a:gd name="connsiteY4" fmla="*/ 52182 h 1024339"/>
                <a:gd name="connsiteX5" fmla="*/ 1969033 w 2021215"/>
                <a:gd name="connsiteY5" fmla="*/ 112388 h 1024339"/>
                <a:gd name="connsiteX6" fmla="*/ 1908828 w 2021215"/>
                <a:gd name="connsiteY6" fmla="*/ 493265 h 1024339"/>
                <a:gd name="connsiteX7" fmla="*/ 1132495 w 2021215"/>
                <a:gd name="connsiteY7" fmla="*/ 889353 h 1024339"/>
                <a:gd name="connsiteX8" fmla="*/ 272509 w 2021215"/>
                <a:gd name="connsiteY8" fmla="*/ 1024340 h 1024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21215" h="1024339">
                  <a:moveTo>
                    <a:pt x="272509" y="1024340"/>
                  </a:moveTo>
                  <a:cubicBezTo>
                    <a:pt x="122312" y="1024340"/>
                    <a:pt x="0" y="902028"/>
                    <a:pt x="0" y="751831"/>
                  </a:cubicBezTo>
                  <a:cubicBezTo>
                    <a:pt x="0" y="601635"/>
                    <a:pt x="122312" y="479323"/>
                    <a:pt x="272509" y="479323"/>
                  </a:cubicBezTo>
                  <a:cubicBezTo>
                    <a:pt x="508894" y="479323"/>
                    <a:pt x="742110" y="442566"/>
                    <a:pt x="964554" y="370319"/>
                  </a:cubicBezTo>
                  <a:cubicBezTo>
                    <a:pt x="1187631" y="298073"/>
                    <a:pt x="1397399" y="190971"/>
                    <a:pt x="1588154" y="52182"/>
                  </a:cubicBezTo>
                  <a:cubicBezTo>
                    <a:pt x="1709833" y="-36541"/>
                    <a:pt x="1880309" y="-9291"/>
                    <a:pt x="1969033" y="112388"/>
                  </a:cubicBezTo>
                  <a:cubicBezTo>
                    <a:pt x="2057757" y="234065"/>
                    <a:pt x="2030506" y="404542"/>
                    <a:pt x="1908828" y="493265"/>
                  </a:cubicBezTo>
                  <a:cubicBezTo>
                    <a:pt x="1671808" y="665643"/>
                    <a:pt x="1410707" y="799362"/>
                    <a:pt x="1132495" y="889353"/>
                  </a:cubicBezTo>
                  <a:cubicBezTo>
                    <a:pt x="855550" y="978710"/>
                    <a:pt x="566564" y="1024340"/>
                    <a:pt x="272509" y="1024340"/>
                  </a:cubicBezTo>
                  <a:close/>
                </a:path>
              </a:pathLst>
            </a:custGeom>
            <a:solidFill>
              <a:schemeClr val="accent3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Graphic 8">
              <a:extLst>
                <a:ext uri="{FF2B5EF4-FFF2-40B4-BE49-F238E27FC236}">
                  <a16:creationId xmlns:a16="http://schemas.microsoft.com/office/drawing/2014/main" id="{07319819-4933-4AEF-890A-A5B8A63F634D}"/>
                </a:ext>
              </a:extLst>
            </p:cNvPr>
            <p:cNvSpPr/>
            <p:nvPr userDrawn="1"/>
          </p:nvSpPr>
          <p:spPr>
            <a:xfrm>
              <a:off x="7710355" y="645613"/>
              <a:ext cx="2797929" cy="1024124"/>
            </a:xfrm>
            <a:custGeom>
              <a:avLst/>
              <a:gdLst>
                <a:gd name="connsiteX0" fmla="*/ 2524847 w 2797929"/>
                <a:gd name="connsiteY0" fmla="*/ 1024124 h 1024124"/>
                <a:gd name="connsiteX1" fmla="*/ 2364510 w 2797929"/>
                <a:gd name="connsiteY1" fmla="*/ 972157 h 1024124"/>
                <a:gd name="connsiteX2" fmla="*/ 1740909 w 2797929"/>
                <a:gd name="connsiteY2" fmla="*/ 654020 h 1024124"/>
                <a:gd name="connsiteX3" fmla="*/ 1048864 w 2797929"/>
                <a:gd name="connsiteY3" fmla="*/ 545016 h 1024124"/>
                <a:gd name="connsiteX4" fmla="*/ 356819 w 2797929"/>
                <a:gd name="connsiteY4" fmla="*/ 654020 h 1024124"/>
                <a:gd name="connsiteX5" fmla="*/ 13331 w 2797929"/>
                <a:gd name="connsiteY5" fmla="*/ 479108 h 1024124"/>
                <a:gd name="connsiteX6" fmla="*/ 188244 w 2797929"/>
                <a:gd name="connsiteY6" fmla="*/ 135620 h 1024124"/>
                <a:gd name="connsiteX7" fmla="*/ 1048864 w 2797929"/>
                <a:gd name="connsiteY7" fmla="*/ 0 h 1024124"/>
                <a:gd name="connsiteX8" fmla="*/ 1909484 w 2797929"/>
                <a:gd name="connsiteY8" fmla="*/ 135620 h 1024124"/>
                <a:gd name="connsiteX9" fmla="*/ 2685816 w 2797929"/>
                <a:gd name="connsiteY9" fmla="*/ 531708 h 1024124"/>
                <a:gd name="connsiteX10" fmla="*/ 2746022 w 2797929"/>
                <a:gd name="connsiteY10" fmla="*/ 912586 h 1024124"/>
                <a:gd name="connsiteX11" fmla="*/ 2524847 w 2797929"/>
                <a:gd name="connsiteY11" fmla="*/ 1024124 h 102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97929" h="1024124">
                  <a:moveTo>
                    <a:pt x="2524847" y="1024124"/>
                  </a:moveTo>
                  <a:cubicBezTo>
                    <a:pt x="2469077" y="1024124"/>
                    <a:pt x="2413308" y="1007013"/>
                    <a:pt x="2364510" y="972157"/>
                  </a:cubicBezTo>
                  <a:cubicBezTo>
                    <a:pt x="2173754" y="833368"/>
                    <a:pt x="1963986" y="726266"/>
                    <a:pt x="1740909" y="654020"/>
                  </a:cubicBezTo>
                  <a:cubicBezTo>
                    <a:pt x="1518466" y="581774"/>
                    <a:pt x="1285249" y="545016"/>
                    <a:pt x="1048864" y="545016"/>
                  </a:cubicBezTo>
                  <a:cubicBezTo>
                    <a:pt x="812479" y="545016"/>
                    <a:pt x="579262" y="581774"/>
                    <a:pt x="356819" y="654020"/>
                  </a:cubicBezTo>
                  <a:cubicBezTo>
                    <a:pt x="213594" y="700283"/>
                    <a:pt x="60228" y="622333"/>
                    <a:pt x="13331" y="479108"/>
                  </a:cubicBezTo>
                  <a:cubicBezTo>
                    <a:pt x="-32932" y="335882"/>
                    <a:pt x="45018" y="182517"/>
                    <a:pt x="188244" y="135620"/>
                  </a:cubicBezTo>
                  <a:cubicBezTo>
                    <a:pt x="465189" y="45629"/>
                    <a:pt x="754808" y="0"/>
                    <a:pt x="1048864" y="0"/>
                  </a:cubicBezTo>
                  <a:cubicBezTo>
                    <a:pt x="1342920" y="0"/>
                    <a:pt x="1631905" y="45629"/>
                    <a:pt x="1909484" y="135620"/>
                  </a:cubicBezTo>
                  <a:cubicBezTo>
                    <a:pt x="2187696" y="225611"/>
                    <a:pt x="2448798" y="359331"/>
                    <a:pt x="2685816" y="531708"/>
                  </a:cubicBezTo>
                  <a:cubicBezTo>
                    <a:pt x="2807495" y="620432"/>
                    <a:pt x="2834112" y="790908"/>
                    <a:pt x="2746022" y="912586"/>
                  </a:cubicBezTo>
                  <a:cubicBezTo>
                    <a:pt x="2692154" y="984832"/>
                    <a:pt x="2609134" y="1024124"/>
                    <a:pt x="2524847" y="1024124"/>
                  </a:cubicBezTo>
                  <a:close/>
                </a:path>
              </a:pathLst>
            </a:custGeom>
            <a:solidFill>
              <a:schemeClr val="accent3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8">
              <a:extLst>
                <a:ext uri="{FF2B5EF4-FFF2-40B4-BE49-F238E27FC236}">
                  <a16:creationId xmlns:a16="http://schemas.microsoft.com/office/drawing/2014/main" id="{05828750-F7EC-4F63-9046-980C98D8C401}"/>
                </a:ext>
              </a:extLst>
            </p:cNvPr>
            <p:cNvSpPr/>
            <p:nvPr userDrawn="1"/>
          </p:nvSpPr>
          <p:spPr>
            <a:xfrm>
              <a:off x="11408949" y="3157125"/>
              <a:ext cx="1233834" cy="2668046"/>
            </a:xfrm>
            <a:custGeom>
              <a:avLst/>
              <a:gdLst>
                <a:gd name="connsiteX0" fmla="*/ 272449 w 1233834"/>
                <a:gd name="connsiteY0" fmla="*/ 2668046 h 2668046"/>
                <a:gd name="connsiteX1" fmla="*/ 112113 w 1233834"/>
                <a:gd name="connsiteY1" fmla="*/ 2616080 h 2668046"/>
                <a:gd name="connsiteX2" fmla="*/ 51908 w 1233834"/>
                <a:gd name="connsiteY2" fmla="*/ 2235202 h 2668046"/>
                <a:gd name="connsiteX3" fmla="*/ 526579 w 1233834"/>
                <a:gd name="connsiteY3" fmla="*/ 1304871 h 2668046"/>
                <a:gd name="connsiteX4" fmla="*/ 688818 w 1233834"/>
                <a:gd name="connsiteY4" fmla="*/ 272508 h 2668046"/>
                <a:gd name="connsiteX5" fmla="*/ 961326 w 1233834"/>
                <a:gd name="connsiteY5" fmla="*/ 0 h 2668046"/>
                <a:gd name="connsiteX6" fmla="*/ 1233835 w 1233834"/>
                <a:gd name="connsiteY6" fmla="*/ 272508 h 2668046"/>
                <a:gd name="connsiteX7" fmla="*/ 1044346 w 1233834"/>
                <a:gd name="connsiteY7" fmla="*/ 1473446 h 2668046"/>
                <a:gd name="connsiteX8" fmla="*/ 491724 w 1233834"/>
                <a:gd name="connsiteY8" fmla="*/ 2556508 h 2668046"/>
                <a:gd name="connsiteX9" fmla="*/ 272449 w 1233834"/>
                <a:gd name="connsiteY9" fmla="*/ 2668046 h 2668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3834" h="2668046">
                  <a:moveTo>
                    <a:pt x="272449" y="2668046"/>
                  </a:moveTo>
                  <a:cubicBezTo>
                    <a:pt x="216681" y="2668046"/>
                    <a:pt x="160911" y="2650935"/>
                    <a:pt x="112113" y="2616080"/>
                  </a:cubicBezTo>
                  <a:cubicBezTo>
                    <a:pt x="-9565" y="2527356"/>
                    <a:pt x="-36182" y="2356880"/>
                    <a:pt x="51908" y="2235202"/>
                  </a:cubicBezTo>
                  <a:cubicBezTo>
                    <a:pt x="259141" y="1950653"/>
                    <a:pt x="418843" y="1637585"/>
                    <a:pt x="526579" y="1304871"/>
                  </a:cubicBezTo>
                  <a:cubicBezTo>
                    <a:pt x="634315" y="972791"/>
                    <a:pt x="688818" y="625502"/>
                    <a:pt x="688818" y="272508"/>
                  </a:cubicBezTo>
                  <a:cubicBezTo>
                    <a:pt x="688818" y="122312"/>
                    <a:pt x="811129" y="0"/>
                    <a:pt x="961326" y="0"/>
                  </a:cubicBezTo>
                  <a:cubicBezTo>
                    <a:pt x="1111523" y="0"/>
                    <a:pt x="1233835" y="122312"/>
                    <a:pt x="1233835" y="272508"/>
                  </a:cubicBezTo>
                  <a:cubicBezTo>
                    <a:pt x="1233835" y="682538"/>
                    <a:pt x="1170461" y="1086864"/>
                    <a:pt x="1044346" y="1473446"/>
                  </a:cubicBezTo>
                  <a:cubicBezTo>
                    <a:pt x="918232" y="1861295"/>
                    <a:pt x="732545" y="2225696"/>
                    <a:pt x="491724" y="2556508"/>
                  </a:cubicBezTo>
                  <a:cubicBezTo>
                    <a:pt x="439757" y="2628755"/>
                    <a:pt x="356737" y="2668046"/>
                    <a:pt x="272449" y="2668046"/>
                  </a:cubicBezTo>
                  <a:close/>
                </a:path>
              </a:pathLst>
            </a:custGeom>
            <a:solidFill>
              <a:schemeClr val="tx2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Graphic 8">
              <a:extLst>
                <a:ext uri="{FF2B5EF4-FFF2-40B4-BE49-F238E27FC236}">
                  <a16:creationId xmlns:a16="http://schemas.microsoft.com/office/drawing/2014/main" id="{15140EE3-5C98-4EEB-904F-975B3210FDD7}"/>
                </a:ext>
              </a:extLst>
            </p:cNvPr>
            <p:cNvSpPr/>
            <p:nvPr userDrawn="1"/>
          </p:nvSpPr>
          <p:spPr>
            <a:xfrm>
              <a:off x="6361144" y="6067894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7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1"/>
                    <a:pt x="423011" y="545017"/>
                    <a:pt x="272509" y="545017"/>
                  </a:cubicBezTo>
                  <a:cubicBezTo>
                    <a:pt x="122006" y="545017"/>
                    <a:pt x="0" y="423011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solidFill>
              <a:schemeClr val="accent3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Graphic 8">
              <a:extLst>
                <a:ext uri="{FF2B5EF4-FFF2-40B4-BE49-F238E27FC236}">
                  <a16:creationId xmlns:a16="http://schemas.microsoft.com/office/drawing/2014/main" id="{073AA9AF-AFB9-4254-89ED-5AD4993E58D7}"/>
                </a:ext>
              </a:extLst>
            </p:cNvPr>
            <p:cNvSpPr/>
            <p:nvPr userDrawn="1"/>
          </p:nvSpPr>
          <p:spPr>
            <a:xfrm>
              <a:off x="7001222" y="1106976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7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7"/>
                    <a:pt x="272509" y="545017"/>
                  </a:cubicBezTo>
                  <a:cubicBezTo>
                    <a:pt x="122006" y="545017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solidFill>
              <a:schemeClr val="tx2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8">
              <a:extLst>
                <a:ext uri="{FF2B5EF4-FFF2-40B4-BE49-F238E27FC236}">
                  <a16:creationId xmlns:a16="http://schemas.microsoft.com/office/drawing/2014/main" id="{CA6CB917-E5A6-4800-9394-B2408C305CE3}"/>
                </a:ext>
              </a:extLst>
            </p:cNvPr>
            <p:cNvSpPr/>
            <p:nvPr userDrawn="1"/>
          </p:nvSpPr>
          <p:spPr>
            <a:xfrm>
              <a:off x="11944401" y="2068360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8 w 545017"/>
                <a:gd name="connsiteY1" fmla="*/ 545016 h 545016"/>
                <a:gd name="connsiteX2" fmla="*/ 0 w 545017"/>
                <a:gd name="connsiteY2" fmla="*/ 272508 h 545016"/>
                <a:gd name="connsiteX3" fmla="*/ 272508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6"/>
                    <a:pt x="272508" y="545016"/>
                  </a:cubicBezTo>
                  <a:cubicBezTo>
                    <a:pt x="122006" y="545016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8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solidFill>
              <a:schemeClr val="tx2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357D4186-9272-4CC4-B848-E4AF5F799F4B}"/>
                </a:ext>
              </a:extLst>
            </p:cNvPr>
            <p:cNvSpPr/>
            <p:nvPr userDrawn="1"/>
          </p:nvSpPr>
          <p:spPr>
            <a:xfrm>
              <a:off x="7067219" y="1731296"/>
              <a:ext cx="3384000" cy="3384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427363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Full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992188" y="1924046"/>
            <a:ext cx="10207625" cy="3936347"/>
          </a:xfrm>
        </p:spPr>
        <p:txBody>
          <a:bodyPr anchor="ctr">
            <a:normAutofit/>
          </a:bodyPr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1987" y="1425568"/>
            <a:ext cx="10208027" cy="488955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32347A6C-2D4F-4021-B265-841CD637F26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B4E471-0290-45E1-BE39-58C90E8F2F68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9823EB7-9DAE-481C-AB01-CB50AFFC3C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2952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aphic 50">
            <a:extLst>
              <a:ext uri="{FF2B5EF4-FFF2-40B4-BE49-F238E27FC236}">
                <a16:creationId xmlns:a16="http://schemas.microsoft.com/office/drawing/2014/main" id="{67EF9034-AB01-4629-876F-7A4704088379}"/>
              </a:ext>
            </a:extLst>
          </p:cNvPr>
          <p:cNvGrpSpPr/>
          <p:nvPr/>
        </p:nvGrpSpPr>
        <p:grpSpPr>
          <a:xfrm>
            <a:off x="5682763" y="-1250693"/>
            <a:ext cx="7340769" cy="6051512"/>
            <a:chOff x="5682763" y="-1250693"/>
            <a:chExt cx="7340769" cy="6051512"/>
          </a:xfrm>
          <a:noFill/>
        </p:grpSpPr>
        <p:sp>
          <p:nvSpPr>
            <p:cNvPr id="53" name="Graphic 50">
              <a:extLst>
                <a:ext uri="{FF2B5EF4-FFF2-40B4-BE49-F238E27FC236}">
                  <a16:creationId xmlns:a16="http://schemas.microsoft.com/office/drawing/2014/main" id="{9AF18E33-A12B-484D-AEA1-86D4118E0049}"/>
                </a:ext>
              </a:extLst>
            </p:cNvPr>
            <p:cNvSpPr/>
            <p:nvPr/>
          </p:nvSpPr>
          <p:spPr>
            <a:xfrm>
              <a:off x="7100720" y="1093147"/>
              <a:ext cx="1465218" cy="1896321"/>
            </a:xfrm>
            <a:custGeom>
              <a:avLst/>
              <a:gdLst>
                <a:gd name="connsiteX0" fmla="*/ 1306654 w 1465218"/>
                <a:gd name="connsiteY0" fmla="*/ 1896322 h 1896321"/>
                <a:gd name="connsiteX1" fmla="*/ 1213747 w 1465218"/>
                <a:gd name="connsiteY1" fmla="*/ 1865985 h 1896321"/>
                <a:gd name="connsiteX2" fmla="*/ 479979 w 1465218"/>
                <a:gd name="connsiteY2" fmla="*/ 1132217 h 1896321"/>
                <a:gd name="connsiteX3" fmla="*/ 7865 w 1465218"/>
                <a:gd name="connsiteY3" fmla="*/ 206949 h 1896321"/>
                <a:gd name="connsiteX4" fmla="*/ 109619 w 1465218"/>
                <a:gd name="connsiteY4" fmla="*/ 7865 h 1896321"/>
                <a:gd name="connsiteX5" fmla="*/ 308704 w 1465218"/>
                <a:gd name="connsiteY5" fmla="*/ 109619 h 1896321"/>
                <a:gd name="connsiteX6" fmla="*/ 735945 w 1465218"/>
                <a:gd name="connsiteY6" fmla="*/ 946405 h 1896321"/>
                <a:gd name="connsiteX7" fmla="*/ 1400191 w 1465218"/>
                <a:gd name="connsiteY7" fmla="*/ 1610651 h 1896321"/>
                <a:gd name="connsiteX8" fmla="*/ 1434952 w 1465218"/>
                <a:gd name="connsiteY8" fmla="*/ 1831224 h 1896321"/>
                <a:gd name="connsiteX9" fmla="*/ 1306654 w 1465218"/>
                <a:gd name="connsiteY9" fmla="*/ 1896322 h 1896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5218" h="1896321">
                  <a:moveTo>
                    <a:pt x="1306654" y="1896322"/>
                  </a:moveTo>
                  <a:cubicBezTo>
                    <a:pt x="1274421" y="1896322"/>
                    <a:pt x="1242188" y="1886210"/>
                    <a:pt x="1213747" y="1865985"/>
                  </a:cubicBezTo>
                  <a:cubicBezTo>
                    <a:pt x="931869" y="1660581"/>
                    <a:pt x="684752" y="1414095"/>
                    <a:pt x="479979" y="1132217"/>
                  </a:cubicBezTo>
                  <a:cubicBezTo>
                    <a:pt x="274575" y="849707"/>
                    <a:pt x="115308" y="538124"/>
                    <a:pt x="7865" y="206949"/>
                  </a:cubicBezTo>
                  <a:cubicBezTo>
                    <a:pt x="-19311" y="124155"/>
                    <a:pt x="26194" y="35042"/>
                    <a:pt x="109619" y="7865"/>
                  </a:cubicBezTo>
                  <a:cubicBezTo>
                    <a:pt x="192413" y="-19311"/>
                    <a:pt x="281527" y="26193"/>
                    <a:pt x="308704" y="109619"/>
                  </a:cubicBezTo>
                  <a:cubicBezTo>
                    <a:pt x="406034" y="409194"/>
                    <a:pt x="549501" y="690440"/>
                    <a:pt x="735945" y="946405"/>
                  </a:cubicBezTo>
                  <a:cubicBezTo>
                    <a:pt x="921757" y="1201739"/>
                    <a:pt x="1145490" y="1424840"/>
                    <a:pt x="1400191" y="1610651"/>
                  </a:cubicBezTo>
                  <a:cubicBezTo>
                    <a:pt x="1470977" y="1661845"/>
                    <a:pt x="1486145" y="1761071"/>
                    <a:pt x="1434952" y="1831224"/>
                  </a:cubicBezTo>
                  <a:cubicBezTo>
                    <a:pt x="1403352" y="1874201"/>
                    <a:pt x="1355318" y="1896322"/>
                    <a:pt x="1306654" y="1896322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Graphic 50">
              <a:extLst>
                <a:ext uri="{FF2B5EF4-FFF2-40B4-BE49-F238E27FC236}">
                  <a16:creationId xmlns:a16="http://schemas.microsoft.com/office/drawing/2014/main" id="{33DD21B2-63C9-4238-BB7D-25DA47BF6C76}"/>
                </a:ext>
              </a:extLst>
            </p:cNvPr>
            <p:cNvSpPr/>
            <p:nvPr/>
          </p:nvSpPr>
          <p:spPr>
            <a:xfrm>
              <a:off x="9129782" y="3122839"/>
              <a:ext cx="1293083" cy="470201"/>
            </a:xfrm>
            <a:custGeom>
              <a:avLst/>
              <a:gdLst>
                <a:gd name="connsiteX0" fmla="*/ 1135081 w 1293083"/>
                <a:gd name="connsiteY0" fmla="*/ 470202 h 470201"/>
                <a:gd name="connsiteX1" fmla="*/ 109322 w 1293083"/>
                <a:gd name="connsiteY1" fmla="*/ 308407 h 470201"/>
                <a:gd name="connsiteX2" fmla="*/ 7568 w 1293083"/>
                <a:gd name="connsiteY2" fmla="*/ 109322 h 470201"/>
                <a:gd name="connsiteX3" fmla="*/ 206652 w 1293083"/>
                <a:gd name="connsiteY3" fmla="*/ 7568 h 470201"/>
                <a:gd name="connsiteX4" fmla="*/ 1135081 w 1293083"/>
                <a:gd name="connsiteY4" fmla="*/ 154195 h 470201"/>
                <a:gd name="connsiteX5" fmla="*/ 1293084 w 1293083"/>
                <a:gd name="connsiteY5" fmla="*/ 312199 h 470201"/>
                <a:gd name="connsiteX6" fmla="*/ 1135081 w 1293083"/>
                <a:gd name="connsiteY6" fmla="*/ 470202 h 470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3083" h="470201">
                  <a:moveTo>
                    <a:pt x="1135081" y="470202"/>
                  </a:moveTo>
                  <a:cubicBezTo>
                    <a:pt x="784945" y="470202"/>
                    <a:pt x="439865" y="415849"/>
                    <a:pt x="109322" y="308407"/>
                  </a:cubicBezTo>
                  <a:cubicBezTo>
                    <a:pt x="26528" y="281230"/>
                    <a:pt x="-18976" y="192116"/>
                    <a:pt x="7568" y="109322"/>
                  </a:cubicBezTo>
                  <a:cubicBezTo>
                    <a:pt x="34745" y="26528"/>
                    <a:pt x="123858" y="-18977"/>
                    <a:pt x="206652" y="7568"/>
                  </a:cubicBezTo>
                  <a:cubicBezTo>
                    <a:pt x="505595" y="104898"/>
                    <a:pt x="817810" y="154195"/>
                    <a:pt x="1135081" y="154195"/>
                  </a:cubicBezTo>
                  <a:cubicBezTo>
                    <a:pt x="1222298" y="154195"/>
                    <a:pt x="1293084" y="224981"/>
                    <a:pt x="1293084" y="312199"/>
                  </a:cubicBezTo>
                  <a:cubicBezTo>
                    <a:pt x="1293084" y="399416"/>
                    <a:pt x="1222298" y="470202"/>
                    <a:pt x="1135081" y="470202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Graphic 50">
              <a:extLst>
                <a:ext uri="{FF2B5EF4-FFF2-40B4-BE49-F238E27FC236}">
                  <a16:creationId xmlns:a16="http://schemas.microsoft.com/office/drawing/2014/main" id="{0BA499FD-31FE-4EA1-AD04-DC6A2EE1573C}"/>
                </a:ext>
              </a:extLst>
            </p:cNvPr>
            <p:cNvSpPr/>
            <p:nvPr/>
          </p:nvSpPr>
          <p:spPr>
            <a:xfrm>
              <a:off x="11083039" y="1974525"/>
              <a:ext cx="1896251" cy="1464937"/>
            </a:xfrm>
            <a:custGeom>
              <a:avLst/>
              <a:gdLst>
                <a:gd name="connsiteX0" fmla="*/ 158284 w 1896251"/>
                <a:gd name="connsiteY0" fmla="*/ 1464937 h 1464937"/>
                <a:gd name="connsiteX1" fmla="*/ 7865 w 1896251"/>
                <a:gd name="connsiteY1" fmla="*/ 1355599 h 1464937"/>
                <a:gd name="connsiteX2" fmla="*/ 109619 w 1896251"/>
                <a:gd name="connsiteY2" fmla="*/ 1156515 h 1464937"/>
                <a:gd name="connsiteX3" fmla="*/ 946406 w 1896251"/>
                <a:gd name="connsiteY3" fmla="*/ 729273 h 1464937"/>
                <a:gd name="connsiteX4" fmla="*/ 1370487 w 1896251"/>
                <a:gd name="connsiteY4" fmla="*/ 355121 h 1464937"/>
                <a:gd name="connsiteX5" fmla="*/ 1610652 w 1896251"/>
                <a:gd name="connsiteY5" fmla="*/ 65027 h 1464937"/>
                <a:gd name="connsiteX6" fmla="*/ 1831225 w 1896251"/>
                <a:gd name="connsiteY6" fmla="*/ 30266 h 1464937"/>
                <a:gd name="connsiteX7" fmla="*/ 1865985 w 1896251"/>
                <a:gd name="connsiteY7" fmla="*/ 250839 h 1464937"/>
                <a:gd name="connsiteX8" fmla="*/ 1600540 w 1896251"/>
                <a:gd name="connsiteY8" fmla="*/ 571270 h 1464937"/>
                <a:gd name="connsiteX9" fmla="*/ 1132217 w 1896251"/>
                <a:gd name="connsiteY9" fmla="*/ 984607 h 1464937"/>
                <a:gd name="connsiteX10" fmla="*/ 206950 w 1896251"/>
                <a:gd name="connsiteY10" fmla="*/ 1456721 h 1464937"/>
                <a:gd name="connsiteX11" fmla="*/ 158284 w 1896251"/>
                <a:gd name="connsiteY11" fmla="*/ 1464937 h 1464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96251" h="1464937">
                  <a:moveTo>
                    <a:pt x="158284" y="1464937"/>
                  </a:moveTo>
                  <a:cubicBezTo>
                    <a:pt x="91923" y="1464937"/>
                    <a:pt x="29986" y="1422592"/>
                    <a:pt x="7865" y="1355599"/>
                  </a:cubicBezTo>
                  <a:cubicBezTo>
                    <a:pt x="-19311" y="1272805"/>
                    <a:pt x="26193" y="1183691"/>
                    <a:pt x="109619" y="1156515"/>
                  </a:cubicBezTo>
                  <a:cubicBezTo>
                    <a:pt x="409194" y="1059184"/>
                    <a:pt x="690440" y="915717"/>
                    <a:pt x="946406" y="729273"/>
                  </a:cubicBezTo>
                  <a:cubicBezTo>
                    <a:pt x="1098721" y="618671"/>
                    <a:pt x="1241556" y="492268"/>
                    <a:pt x="1370487" y="355121"/>
                  </a:cubicBezTo>
                  <a:cubicBezTo>
                    <a:pt x="1456441" y="263479"/>
                    <a:pt x="1537338" y="166149"/>
                    <a:pt x="1610652" y="65027"/>
                  </a:cubicBezTo>
                  <a:cubicBezTo>
                    <a:pt x="1661845" y="-5758"/>
                    <a:pt x="1761071" y="-20927"/>
                    <a:pt x="1831225" y="30266"/>
                  </a:cubicBezTo>
                  <a:cubicBezTo>
                    <a:pt x="1902011" y="81459"/>
                    <a:pt x="1917179" y="180686"/>
                    <a:pt x="1865985" y="250839"/>
                  </a:cubicBezTo>
                  <a:cubicBezTo>
                    <a:pt x="1784456" y="362705"/>
                    <a:pt x="1695342" y="470780"/>
                    <a:pt x="1600540" y="571270"/>
                  </a:cubicBezTo>
                  <a:cubicBezTo>
                    <a:pt x="1457705" y="722953"/>
                    <a:pt x="1300333" y="861996"/>
                    <a:pt x="1132217" y="984607"/>
                  </a:cubicBezTo>
                  <a:cubicBezTo>
                    <a:pt x="849708" y="1190011"/>
                    <a:pt x="538125" y="1349279"/>
                    <a:pt x="206950" y="1456721"/>
                  </a:cubicBezTo>
                  <a:cubicBezTo>
                    <a:pt x="191149" y="1462409"/>
                    <a:pt x="174717" y="1464937"/>
                    <a:pt x="158284" y="1464937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Graphic 50">
              <a:extLst>
                <a:ext uri="{FF2B5EF4-FFF2-40B4-BE49-F238E27FC236}">
                  <a16:creationId xmlns:a16="http://schemas.microsoft.com/office/drawing/2014/main" id="{5B533DF3-D2A9-4D0A-BEA9-D6655D2A9D07}"/>
                </a:ext>
              </a:extLst>
            </p:cNvPr>
            <p:cNvSpPr/>
            <p:nvPr/>
          </p:nvSpPr>
          <p:spPr>
            <a:xfrm>
              <a:off x="6946790" y="-860109"/>
              <a:ext cx="470202" cy="1293083"/>
            </a:xfrm>
            <a:custGeom>
              <a:avLst/>
              <a:gdLst>
                <a:gd name="connsiteX0" fmla="*/ 158003 w 470202"/>
                <a:gd name="connsiteY0" fmla="*/ 1293084 h 1293083"/>
                <a:gd name="connsiteX1" fmla="*/ 0 w 470202"/>
                <a:gd name="connsiteY1" fmla="*/ 1135080 h 1293083"/>
                <a:gd name="connsiteX2" fmla="*/ 161796 w 470202"/>
                <a:gd name="connsiteY2" fmla="*/ 109322 h 1293083"/>
                <a:gd name="connsiteX3" fmla="*/ 360880 w 470202"/>
                <a:gd name="connsiteY3" fmla="*/ 7568 h 1293083"/>
                <a:gd name="connsiteX4" fmla="*/ 462634 w 470202"/>
                <a:gd name="connsiteY4" fmla="*/ 206652 h 1293083"/>
                <a:gd name="connsiteX5" fmla="*/ 316007 w 470202"/>
                <a:gd name="connsiteY5" fmla="*/ 1135080 h 1293083"/>
                <a:gd name="connsiteX6" fmla="*/ 158003 w 470202"/>
                <a:gd name="connsiteY6" fmla="*/ 1293084 h 129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0202" h="1293083">
                  <a:moveTo>
                    <a:pt x="158003" y="1293084"/>
                  </a:moveTo>
                  <a:cubicBezTo>
                    <a:pt x="70786" y="1293084"/>
                    <a:pt x="0" y="1222298"/>
                    <a:pt x="0" y="1135080"/>
                  </a:cubicBezTo>
                  <a:cubicBezTo>
                    <a:pt x="0" y="784945"/>
                    <a:pt x="54353" y="439865"/>
                    <a:pt x="161796" y="109322"/>
                  </a:cubicBezTo>
                  <a:cubicBezTo>
                    <a:pt x="188972" y="26528"/>
                    <a:pt x="278086" y="-18977"/>
                    <a:pt x="360880" y="7568"/>
                  </a:cubicBezTo>
                  <a:cubicBezTo>
                    <a:pt x="443674" y="34744"/>
                    <a:pt x="489179" y="123858"/>
                    <a:pt x="462634" y="206652"/>
                  </a:cubicBezTo>
                  <a:cubicBezTo>
                    <a:pt x="365304" y="505595"/>
                    <a:pt x="316007" y="817809"/>
                    <a:pt x="316007" y="1135080"/>
                  </a:cubicBezTo>
                  <a:cubicBezTo>
                    <a:pt x="316007" y="1222298"/>
                    <a:pt x="245221" y="1293084"/>
                    <a:pt x="158003" y="1293084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Graphic 50">
              <a:extLst>
                <a:ext uri="{FF2B5EF4-FFF2-40B4-BE49-F238E27FC236}">
                  <a16:creationId xmlns:a16="http://schemas.microsoft.com/office/drawing/2014/main" id="{16579868-FE32-444D-A606-BBFB70427C54}"/>
                </a:ext>
              </a:extLst>
            </p:cNvPr>
            <p:cNvSpPr/>
            <p:nvPr/>
          </p:nvSpPr>
          <p:spPr>
            <a:xfrm>
              <a:off x="6314776" y="116967"/>
              <a:ext cx="500835" cy="1488391"/>
            </a:xfrm>
            <a:custGeom>
              <a:avLst/>
              <a:gdLst>
                <a:gd name="connsiteX0" fmla="*/ 342551 w 500835"/>
                <a:gd name="connsiteY0" fmla="*/ 1488392 h 1488391"/>
                <a:gd name="connsiteX1" fmla="*/ 192132 w 500835"/>
                <a:gd name="connsiteY1" fmla="*/ 1379054 h 1488391"/>
                <a:gd name="connsiteX2" fmla="*/ 0 w 500835"/>
                <a:gd name="connsiteY2" fmla="*/ 158003 h 1488391"/>
                <a:gd name="connsiteX3" fmla="*/ 158003 w 500835"/>
                <a:gd name="connsiteY3" fmla="*/ 0 h 1488391"/>
                <a:gd name="connsiteX4" fmla="*/ 316007 w 500835"/>
                <a:gd name="connsiteY4" fmla="*/ 158003 h 1488391"/>
                <a:gd name="connsiteX5" fmla="*/ 492971 w 500835"/>
                <a:gd name="connsiteY5" fmla="*/ 1281092 h 1488391"/>
                <a:gd name="connsiteX6" fmla="*/ 391217 w 500835"/>
                <a:gd name="connsiteY6" fmla="*/ 1480176 h 1488391"/>
                <a:gd name="connsiteX7" fmla="*/ 342551 w 500835"/>
                <a:gd name="connsiteY7" fmla="*/ 1488392 h 148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0835" h="1488391">
                  <a:moveTo>
                    <a:pt x="342551" y="1488392"/>
                  </a:moveTo>
                  <a:cubicBezTo>
                    <a:pt x="276190" y="1488392"/>
                    <a:pt x="214253" y="1446047"/>
                    <a:pt x="192132" y="1379054"/>
                  </a:cubicBezTo>
                  <a:cubicBezTo>
                    <a:pt x="64465" y="985941"/>
                    <a:pt x="0" y="575132"/>
                    <a:pt x="0" y="158003"/>
                  </a:cubicBezTo>
                  <a:cubicBezTo>
                    <a:pt x="0" y="70786"/>
                    <a:pt x="70786" y="0"/>
                    <a:pt x="158003" y="0"/>
                  </a:cubicBezTo>
                  <a:cubicBezTo>
                    <a:pt x="245221" y="0"/>
                    <a:pt x="316007" y="70786"/>
                    <a:pt x="316007" y="158003"/>
                  </a:cubicBezTo>
                  <a:cubicBezTo>
                    <a:pt x="316007" y="541636"/>
                    <a:pt x="375416" y="919580"/>
                    <a:pt x="492971" y="1281092"/>
                  </a:cubicBezTo>
                  <a:cubicBezTo>
                    <a:pt x="520147" y="1363885"/>
                    <a:pt x="474642" y="1452999"/>
                    <a:pt x="391217" y="1480176"/>
                  </a:cubicBezTo>
                  <a:cubicBezTo>
                    <a:pt x="375416" y="1485864"/>
                    <a:pt x="358984" y="1488392"/>
                    <a:pt x="342551" y="1488392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Graphic 50">
              <a:extLst>
                <a:ext uri="{FF2B5EF4-FFF2-40B4-BE49-F238E27FC236}">
                  <a16:creationId xmlns:a16="http://schemas.microsoft.com/office/drawing/2014/main" id="{527D97ED-9263-4AFD-B856-47E4D42F6196}"/>
                </a:ext>
              </a:extLst>
            </p:cNvPr>
            <p:cNvSpPr/>
            <p:nvPr/>
          </p:nvSpPr>
          <p:spPr>
            <a:xfrm>
              <a:off x="10106859" y="3184831"/>
              <a:ext cx="2544417" cy="1040223"/>
            </a:xfrm>
            <a:custGeom>
              <a:avLst/>
              <a:gdLst>
                <a:gd name="connsiteX0" fmla="*/ 158003 w 2544417"/>
                <a:gd name="connsiteY0" fmla="*/ 1040224 h 1040223"/>
                <a:gd name="connsiteX1" fmla="*/ 0 w 2544417"/>
                <a:gd name="connsiteY1" fmla="*/ 882221 h 1040223"/>
                <a:gd name="connsiteX2" fmla="*/ 158003 w 2544417"/>
                <a:gd name="connsiteY2" fmla="*/ 724217 h 1040223"/>
                <a:gd name="connsiteX3" fmla="*/ 1281092 w 2544417"/>
                <a:gd name="connsiteY3" fmla="*/ 547253 h 1040223"/>
                <a:gd name="connsiteX4" fmla="*/ 2293578 w 2544417"/>
                <a:gd name="connsiteY4" fmla="*/ 30266 h 1040223"/>
                <a:gd name="connsiteX5" fmla="*/ 2514151 w 2544417"/>
                <a:gd name="connsiteY5" fmla="*/ 65027 h 1040223"/>
                <a:gd name="connsiteX6" fmla="*/ 2479390 w 2544417"/>
                <a:gd name="connsiteY6" fmla="*/ 285600 h 1040223"/>
                <a:gd name="connsiteX7" fmla="*/ 1378422 w 2544417"/>
                <a:gd name="connsiteY7" fmla="*/ 847460 h 1040223"/>
                <a:gd name="connsiteX8" fmla="*/ 158003 w 2544417"/>
                <a:gd name="connsiteY8" fmla="*/ 1040224 h 1040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4417" h="1040223">
                  <a:moveTo>
                    <a:pt x="158003" y="1040224"/>
                  </a:moveTo>
                  <a:cubicBezTo>
                    <a:pt x="70786" y="1040224"/>
                    <a:pt x="0" y="969439"/>
                    <a:pt x="0" y="882221"/>
                  </a:cubicBezTo>
                  <a:cubicBezTo>
                    <a:pt x="0" y="795003"/>
                    <a:pt x="70786" y="724217"/>
                    <a:pt x="158003" y="724217"/>
                  </a:cubicBezTo>
                  <a:cubicBezTo>
                    <a:pt x="541636" y="724217"/>
                    <a:pt x="919580" y="664808"/>
                    <a:pt x="1281092" y="547253"/>
                  </a:cubicBezTo>
                  <a:cubicBezTo>
                    <a:pt x="1643868" y="429699"/>
                    <a:pt x="1984523" y="255895"/>
                    <a:pt x="2293578" y="30266"/>
                  </a:cubicBezTo>
                  <a:cubicBezTo>
                    <a:pt x="2364363" y="-20927"/>
                    <a:pt x="2462957" y="-5758"/>
                    <a:pt x="2514151" y="65027"/>
                  </a:cubicBezTo>
                  <a:cubicBezTo>
                    <a:pt x="2565344" y="135813"/>
                    <a:pt x="2550176" y="234407"/>
                    <a:pt x="2479390" y="285600"/>
                  </a:cubicBezTo>
                  <a:cubicBezTo>
                    <a:pt x="2143159" y="530189"/>
                    <a:pt x="1772167" y="719793"/>
                    <a:pt x="1378422" y="847460"/>
                  </a:cubicBezTo>
                  <a:cubicBezTo>
                    <a:pt x="985942" y="975759"/>
                    <a:pt x="575133" y="1040224"/>
                    <a:pt x="158003" y="1040224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Graphic 50">
              <a:extLst>
                <a:ext uri="{FF2B5EF4-FFF2-40B4-BE49-F238E27FC236}">
                  <a16:creationId xmlns:a16="http://schemas.microsoft.com/office/drawing/2014/main" id="{5B061AB6-41B4-4D57-A44E-2CFFE2307EA3}"/>
                </a:ext>
              </a:extLst>
            </p:cNvPr>
            <p:cNvSpPr/>
            <p:nvPr/>
          </p:nvSpPr>
          <p:spPr>
            <a:xfrm>
              <a:off x="11474256" y="3696130"/>
              <a:ext cx="1549276" cy="945422"/>
            </a:xfrm>
            <a:custGeom>
              <a:avLst/>
              <a:gdLst>
                <a:gd name="connsiteX0" fmla="*/ 158285 w 1549276"/>
                <a:gd name="connsiteY0" fmla="*/ 945422 h 945422"/>
                <a:gd name="connsiteX1" fmla="*/ 7865 w 1549276"/>
                <a:gd name="connsiteY1" fmla="*/ 836083 h 945422"/>
                <a:gd name="connsiteX2" fmla="*/ 109620 w 1549276"/>
                <a:gd name="connsiteY2" fmla="*/ 636999 h 945422"/>
                <a:gd name="connsiteX3" fmla="*/ 1298438 w 1549276"/>
                <a:gd name="connsiteY3" fmla="*/ 30266 h 945422"/>
                <a:gd name="connsiteX4" fmla="*/ 1519010 w 1549276"/>
                <a:gd name="connsiteY4" fmla="*/ 65027 h 945422"/>
                <a:gd name="connsiteX5" fmla="*/ 1484249 w 1549276"/>
                <a:gd name="connsiteY5" fmla="*/ 285600 h 945422"/>
                <a:gd name="connsiteX6" fmla="*/ 206949 w 1549276"/>
                <a:gd name="connsiteY6" fmla="*/ 937206 h 945422"/>
                <a:gd name="connsiteX7" fmla="*/ 158285 w 1549276"/>
                <a:gd name="connsiteY7" fmla="*/ 945422 h 94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9276" h="945422">
                  <a:moveTo>
                    <a:pt x="158285" y="945422"/>
                  </a:moveTo>
                  <a:cubicBezTo>
                    <a:pt x="91923" y="945422"/>
                    <a:pt x="29986" y="903077"/>
                    <a:pt x="7865" y="836083"/>
                  </a:cubicBezTo>
                  <a:cubicBezTo>
                    <a:pt x="-19311" y="753290"/>
                    <a:pt x="26194" y="664176"/>
                    <a:pt x="109620" y="636999"/>
                  </a:cubicBezTo>
                  <a:cubicBezTo>
                    <a:pt x="534965" y="498588"/>
                    <a:pt x="935030" y="294448"/>
                    <a:pt x="1298438" y="30266"/>
                  </a:cubicBezTo>
                  <a:cubicBezTo>
                    <a:pt x="1369223" y="-20927"/>
                    <a:pt x="1467817" y="-5758"/>
                    <a:pt x="1519010" y="65027"/>
                  </a:cubicBezTo>
                  <a:cubicBezTo>
                    <a:pt x="1570204" y="135812"/>
                    <a:pt x="1555035" y="234407"/>
                    <a:pt x="1484249" y="285600"/>
                  </a:cubicBezTo>
                  <a:cubicBezTo>
                    <a:pt x="1094297" y="569374"/>
                    <a:pt x="664528" y="788682"/>
                    <a:pt x="206949" y="937206"/>
                  </a:cubicBezTo>
                  <a:cubicBezTo>
                    <a:pt x="190517" y="942894"/>
                    <a:pt x="174085" y="945422"/>
                    <a:pt x="158285" y="945422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Graphic 50">
              <a:extLst>
                <a:ext uri="{FF2B5EF4-FFF2-40B4-BE49-F238E27FC236}">
                  <a16:creationId xmlns:a16="http://schemas.microsoft.com/office/drawing/2014/main" id="{145C19D2-CAAD-4BC1-9CCC-2C0D9A5F5CDA}"/>
                </a:ext>
              </a:extLst>
            </p:cNvPr>
            <p:cNvSpPr/>
            <p:nvPr/>
          </p:nvSpPr>
          <p:spPr>
            <a:xfrm>
              <a:off x="5682763" y="-1250693"/>
              <a:ext cx="531507" cy="1683667"/>
            </a:xfrm>
            <a:custGeom>
              <a:avLst/>
              <a:gdLst>
                <a:gd name="connsiteX0" fmla="*/ 158003 w 531507"/>
                <a:gd name="connsiteY0" fmla="*/ 1683668 h 1683667"/>
                <a:gd name="connsiteX1" fmla="*/ 0 w 531507"/>
                <a:gd name="connsiteY1" fmla="*/ 1525665 h 1683667"/>
                <a:gd name="connsiteX2" fmla="*/ 223101 w 531507"/>
                <a:gd name="connsiteY2" fmla="*/ 109322 h 1683667"/>
                <a:gd name="connsiteX3" fmla="*/ 422185 w 531507"/>
                <a:gd name="connsiteY3" fmla="*/ 7568 h 1683667"/>
                <a:gd name="connsiteX4" fmla="*/ 523939 w 531507"/>
                <a:gd name="connsiteY4" fmla="*/ 206652 h 1683667"/>
                <a:gd name="connsiteX5" fmla="*/ 316007 w 531507"/>
                <a:gd name="connsiteY5" fmla="*/ 1525665 h 1683667"/>
                <a:gd name="connsiteX6" fmla="*/ 158003 w 531507"/>
                <a:gd name="connsiteY6" fmla="*/ 1683668 h 168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1507" h="1683667">
                  <a:moveTo>
                    <a:pt x="158003" y="1683668"/>
                  </a:moveTo>
                  <a:cubicBezTo>
                    <a:pt x="70786" y="1683668"/>
                    <a:pt x="0" y="1612882"/>
                    <a:pt x="0" y="1525665"/>
                  </a:cubicBezTo>
                  <a:cubicBezTo>
                    <a:pt x="0" y="1041542"/>
                    <a:pt x="75210" y="565636"/>
                    <a:pt x="223101" y="109322"/>
                  </a:cubicBezTo>
                  <a:cubicBezTo>
                    <a:pt x="250277" y="26528"/>
                    <a:pt x="339391" y="-18977"/>
                    <a:pt x="422185" y="7568"/>
                  </a:cubicBezTo>
                  <a:cubicBezTo>
                    <a:pt x="504979" y="34744"/>
                    <a:pt x="550484" y="123858"/>
                    <a:pt x="523939" y="206652"/>
                  </a:cubicBezTo>
                  <a:cubicBezTo>
                    <a:pt x="386160" y="631365"/>
                    <a:pt x="316007" y="1075039"/>
                    <a:pt x="316007" y="1525665"/>
                  </a:cubicBezTo>
                  <a:cubicBezTo>
                    <a:pt x="316007" y="1612882"/>
                    <a:pt x="245221" y="1683668"/>
                    <a:pt x="158003" y="1683668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Graphic 50">
              <a:extLst>
                <a:ext uri="{FF2B5EF4-FFF2-40B4-BE49-F238E27FC236}">
                  <a16:creationId xmlns:a16="http://schemas.microsoft.com/office/drawing/2014/main" id="{5B38B959-5DD8-4E0F-8B80-633C376978F2}"/>
                </a:ext>
              </a:extLst>
            </p:cNvPr>
            <p:cNvSpPr/>
            <p:nvPr/>
          </p:nvSpPr>
          <p:spPr>
            <a:xfrm>
              <a:off x="10800178" y="4484813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4 w 316006"/>
                <a:gd name="connsiteY1" fmla="*/ 316007 h 316006"/>
                <a:gd name="connsiteX2" fmla="*/ 0 w 316006"/>
                <a:gd name="connsiteY2" fmla="*/ 158003 h 316006"/>
                <a:gd name="connsiteX3" fmla="*/ 158004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6" y="316007"/>
                    <a:pt x="158004" y="316007"/>
                  </a:cubicBezTo>
                  <a:cubicBezTo>
                    <a:pt x="70741" y="316007"/>
                    <a:pt x="0" y="245266"/>
                    <a:pt x="0" y="158003"/>
                  </a:cubicBezTo>
                  <a:cubicBezTo>
                    <a:pt x="0" y="70740"/>
                    <a:pt x="70741" y="0"/>
                    <a:pt x="158004" y="0"/>
                  </a:cubicBezTo>
                  <a:cubicBezTo>
                    <a:pt x="245266" y="0"/>
                    <a:pt x="316007" y="70740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Graphic 50">
              <a:extLst>
                <a:ext uri="{FF2B5EF4-FFF2-40B4-BE49-F238E27FC236}">
                  <a16:creationId xmlns:a16="http://schemas.microsoft.com/office/drawing/2014/main" id="{67ADA5BE-CC7A-4F23-A2DA-46EC81591D0B}"/>
                </a:ext>
              </a:extLst>
            </p:cNvPr>
            <p:cNvSpPr/>
            <p:nvPr/>
          </p:nvSpPr>
          <p:spPr>
            <a:xfrm>
              <a:off x="5730796" y="797645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3 w 316006"/>
                <a:gd name="connsiteY1" fmla="*/ 316007 h 316006"/>
                <a:gd name="connsiteX2" fmla="*/ 0 w 316006"/>
                <a:gd name="connsiteY2" fmla="*/ 158003 h 316006"/>
                <a:gd name="connsiteX3" fmla="*/ 158003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6" y="316007"/>
                    <a:pt x="158003" y="316007"/>
                  </a:cubicBezTo>
                  <a:cubicBezTo>
                    <a:pt x="70741" y="316007"/>
                    <a:pt x="0" y="245266"/>
                    <a:pt x="0" y="158003"/>
                  </a:cubicBezTo>
                  <a:cubicBezTo>
                    <a:pt x="0" y="70741"/>
                    <a:pt x="70741" y="0"/>
                    <a:pt x="158003" y="0"/>
                  </a:cubicBezTo>
                  <a:cubicBezTo>
                    <a:pt x="245266" y="0"/>
                    <a:pt x="316007" y="70741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Graphic 50">
              <a:extLst>
                <a:ext uri="{FF2B5EF4-FFF2-40B4-BE49-F238E27FC236}">
                  <a16:creationId xmlns:a16="http://schemas.microsoft.com/office/drawing/2014/main" id="{49266AC3-A879-4B5E-AF16-BC851AE53AA2}"/>
                </a:ext>
              </a:extLst>
            </p:cNvPr>
            <p:cNvSpPr/>
            <p:nvPr/>
          </p:nvSpPr>
          <p:spPr>
            <a:xfrm>
              <a:off x="9512134" y="3863543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4 w 316006"/>
                <a:gd name="connsiteY1" fmla="*/ 316007 h 316006"/>
                <a:gd name="connsiteX2" fmla="*/ 0 w 316006"/>
                <a:gd name="connsiteY2" fmla="*/ 158004 h 316006"/>
                <a:gd name="connsiteX3" fmla="*/ 158004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7" y="316007"/>
                    <a:pt x="158004" y="316007"/>
                  </a:cubicBezTo>
                  <a:cubicBezTo>
                    <a:pt x="70741" y="316007"/>
                    <a:pt x="0" y="245267"/>
                    <a:pt x="0" y="158004"/>
                  </a:cubicBezTo>
                  <a:cubicBezTo>
                    <a:pt x="0" y="70741"/>
                    <a:pt x="70741" y="0"/>
                    <a:pt x="158004" y="0"/>
                  </a:cubicBezTo>
                  <a:cubicBezTo>
                    <a:pt x="245267" y="0"/>
                    <a:pt x="316007" y="70741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Graphic 50">
              <a:extLst>
                <a:ext uri="{FF2B5EF4-FFF2-40B4-BE49-F238E27FC236}">
                  <a16:creationId xmlns:a16="http://schemas.microsoft.com/office/drawing/2014/main" id="{6F397FE6-C77F-407B-9B36-BDC3B3196747}"/>
                </a:ext>
              </a:extLst>
            </p:cNvPr>
            <p:cNvSpPr/>
            <p:nvPr/>
          </p:nvSpPr>
          <p:spPr>
            <a:xfrm>
              <a:off x="6721161" y="1830356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3 w 316006"/>
                <a:gd name="connsiteY1" fmla="*/ 316007 h 316006"/>
                <a:gd name="connsiteX2" fmla="*/ 0 w 316006"/>
                <a:gd name="connsiteY2" fmla="*/ 158003 h 316006"/>
                <a:gd name="connsiteX3" fmla="*/ 158003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6" y="316007"/>
                    <a:pt x="158003" y="316007"/>
                  </a:cubicBezTo>
                  <a:cubicBezTo>
                    <a:pt x="70741" y="316007"/>
                    <a:pt x="0" y="245266"/>
                    <a:pt x="0" y="158003"/>
                  </a:cubicBezTo>
                  <a:cubicBezTo>
                    <a:pt x="0" y="70740"/>
                    <a:pt x="70741" y="0"/>
                    <a:pt x="158003" y="0"/>
                  </a:cubicBezTo>
                  <a:cubicBezTo>
                    <a:pt x="245266" y="0"/>
                    <a:pt x="316007" y="70740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Graphic 50">
              <a:extLst>
                <a:ext uri="{FF2B5EF4-FFF2-40B4-BE49-F238E27FC236}">
                  <a16:creationId xmlns:a16="http://schemas.microsoft.com/office/drawing/2014/main" id="{F0EE6F4C-4232-40C2-B374-56962AA86F5A}"/>
                </a:ext>
              </a:extLst>
            </p:cNvPr>
            <p:cNvSpPr/>
            <p:nvPr/>
          </p:nvSpPr>
          <p:spPr>
            <a:xfrm>
              <a:off x="6975863" y="644066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3 w 316006"/>
                <a:gd name="connsiteY1" fmla="*/ 316007 h 316006"/>
                <a:gd name="connsiteX2" fmla="*/ 0 w 316006"/>
                <a:gd name="connsiteY2" fmla="*/ 158004 h 316006"/>
                <a:gd name="connsiteX3" fmla="*/ 158003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6" y="316007"/>
                    <a:pt x="158003" y="316007"/>
                  </a:cubicBezTo>
                  <a:cubicBezTo>
                    <a:pt x="70741" y="316007"/>
                    <a:pt x="0" y="245266"/>
                    <a:pt x="0" y="158004"/>
                  </a:cubicBezTo>
                  <a:cubicBezTo>
                    <a:pt x="0" y="70741"/>
                    <a:pt x="70741" y="0"/>
                    <a:pt x="158003" y="0"/>
                  </a:cubicBezTo>
                  <a:cubicBezTo>
                    <a:pt x="245266" y="0"/>
                    <a:pt x="316007" y="70741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Graphic 50">
              <a:extLst>
                <a:ext uri="{FF2B5EF4-FFF2-40B4-BE49-F238E27FC236}">
                  <a16:creationId xmlns:a16="http://schemas.microsoft.com/office/drawing/2014/main" id="{4DFA737E-5D3B-4781-8027-C8C2C5C60D9B}"/>
                </a:ext>
              </a:extLst>
            </p:cNvPr>
            <p:cNvSpPr/>
            <p:nvPr/>
          </p:nvSpPr>
          <p:spPr>
            <a:xfrm>
              <a:off x="10602990" y="3238482"/>
              <a:ext cx="316006" cy="316006"/>
            </a:xfrm>
            <a:custGeom>
              <a:avLst/>
              <a:gdLst>
                <a:gd name="connsiteX0" fmla="*/ 316007 w 316006"/>
                <a:gd name="connsiteY0" fmla="*/ 158004 h 316006"/>
                <a:gd name="connsiteX1" fmla="*/ 158003 w 316006"/>
                <a:gd name="connsiteY1" fmla="*/ 316007 h 316006"/>
                <a:gd name="connsiteX2" fmla="*/ 0 w 316006"/>
                <a:gd name="connsiteY2" fmla="*/ 158004 h 316006"/>
                <a:gd name="connsiteX3" fmla="*/ 158003 w 316006"/>
                <a:gd name="connsiteY3" fmla="*/ 0 h 316006"/>
                <a:gd name="connsiteX4" fmla="*/ 316007 w 316006"/>
                <a:gd name="connsiteY4" fmla="*/ 158004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4"/>
                  </a:moveTo>
                  <a:cubicBezTo>
                    <a:pt x="316007" y="245266"/>
                    <a:pt x="245266" y="316007"/>
                    <a:pt x="158003" y="316007"/>
                  </a:cubicBezTo>
                  <a:cubicBezTo>
                    <a:pt x="70740" y="316007"/>
                    <a:pt x="0" y="245266"/>
                    <a:pt x="0" y="158004"/>
                  </a:cubicBezTo>
                  <a:cubicBezTo>
                    <a:pt x="0" y="70741"/>
                    <a:pt x="70740" y="0"/>
                    <a:pt x="158003" y="0"/>
                  </a:cubicBezTo>
                  <a:cubicBezTo>
                    <a:pt x="245266" y="0"/>
                    <a:pt x="316007" y="70741"/>
                    <a:pt x="316007" y="158004"/>
                  </a:cubicBezTo>
                  <a:close/>
                </a:path>
              </a:pathLst>
            </a:custGeom>
            <a:grp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71" name="Graphic 50">
            <a:extLst>
              <a:ext uri="{FF2B5EF4-FFF2-40B4-BE49-F238E27FC236}">
                <a16:creationId xmlns:a16="http://schemas.microsoft.com/office/drawing/2014/main" id="{9FBF810F-DD30-4481-A0CB-B491A20CBD19}"/>
              </a:ext>
            </a:extLst>
          </p:cNvPr>
          <p:cNvSpPr/>
          <p:nvPr/>
        </p:nvSpPr>
        <p:spPr>
          <a:xfrm>
            <a:off x="7578804" y="-2411087"/>
            <a:ext cx="5372117" cy="5372115"/>
          </a:xfrm>
          <a:custGeom>
            <a:avLst/>
            <a:gdLst>
              <a:gd name="connsiteX0" fmla="*/ 5372117 w 5372117"/>
              <a:gd name="connsiteY0" fmla="*/ 2686058 h 5372115"/>
              <a:gd name="connsiteX1" fmla="*/ 2686059 w 5372117"/>
              <a:gd name="connsiteY1" fmla="*/ 5372116 h 5372115"/>
              <a:gd name="connsiteX2" fmla="*/ 0 w 5372117"/>
              <a:gd name="connsiteY2" fmla="*/ 2686058 h 5372115"/>
              <a:gd name="connsiteX3" fmla="*/ 2686059 w 5372117"/>
              <a:gd name="connsiteY3" fmla="*/ 0 h 5372115"/>
              <a:gd name="connsiteX4" fmla="*/ 5372117 w 5372117"/>
              <a:gd name="connsiteY4" fmla="*/ 2686058 h 5372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2117" h="5372115">
                <a:moveTo>
                  <a:pt x="5372117" y="2686058"/>
                </a:moveTo>
                <a:cubicBezTo>
                  <a:pt x="5372117" y="4169526"/>
                  <a:pt x="4169528" y="5372116"/>
                  <a:pt x="2686059" y="5372116"/>
                </a:cubicBezTo>
                <a:cubicBezTo>
                  <a:pt x="1202589" y="5372116"/>
                  <a:pt x="0" y="4169526"/>
                  <a:pt x="0" y="2686058"/>
                </a:cubicBezTo>
                <a:cubicBezTo>
                  <a:pt x="0" y="1202589"/>
                  <a:pt x="1202589" y="0"/>
                  <a:pt x="2686059" y="0"/>
                </a:cubicBezTo>
                <a:cubicBezTo>
                  <a:pt x="4169528" y="0"/>
                  <a:pt x="5372117" y="1202589"/>
                  <a:pt x="5372117" y="2686058"/>
                </a:cubicBezTo>
                <a:close/>
              </a:path>
            </a:pathLst>
          </a:custGeom>
          <a:solidFill>
            <a:schemeClr val="tx1"/>
          </a:solidFill>
          <a:ln w="632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8" y="598516"/>
            <a:ext cx="5929808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4" y="1425570"/>
            <a:ext cx="5929808" cy="488955"/>
          </a:xfrm>
        </p:spPr>
        <p:txBody>
          <a:bodyPr/>
          <a:lstStyle>
            <a:lvl1pPr algn="l">
              <a:defRPr b="0"/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1C9C7C17-F662-45FB-A067-D49A47713F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224B7B-73C4-44DD-9F04-4A8D09F93CB2}"/>
              </a:ext>
            </a:extLst>
          </p:cNvPr>
          <p:cNvSpPr txBox="1"/>
          <p:nvPr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190750"/>
            <a:ext cx="10198100" cy="3670300"/>
          </a:xfrm>
        </p:spPr>
        <p:txBody>
          <a:bodyPr>
            <a:noAutofit/>
          </a:bodyPr>
          <a:lstStyle>
            <a:lvl1pPr algn="l">
              <a:defRPr sz="1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50C3BA9-2289-4C2D-AACC-454CB20112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41603" y="598516"/>
            <a:ext cx="3149438" cy="377337"/>
          </a:xfrm>
        </p:spPr>
        <p:txBody>
          <a:bodyPr>
            <a:noAutofit/>
          </a:bodyPr>
          <a:lstStyle>
            <a:lvl1pPr algn="l">
              <a:defRPr sz="16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Tip:</a:t>
            </a:r>
            <a:endParaRPr lang="en-GB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C3D9F9D9-5B7C-45C3-A68B-27753EEBC43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449403" y="1093194"/>
            <a:ext cx="3129141" cy="902431"/>
          </a:xfrm>
        </p:spPr>
        <p:txBody>
          <a:bodyPr>
            <a:no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72596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aphic 50">
            <a:extLst>
              <a:ext uri="{FF2B5EF4-FFF2-40B4-BE49-F238E27FC236}">
                <a16:creationId xmlns:a16="http://schemas.microsoft.com/office/drawing/2014/main" id="{67EF9034-AB01-4629-876F-7A4704088379}"/>
              </a:ext>
            </a:extLst>
          </p:cNvPr>
          <p:cNvGrpSpPr/>
          <p:nvPr/>
        </p:nvGrpSpPr>
        <p:grpSpPr>
          <a:xfrm>
            <a:off x="5682763" y="-1250693"/>
            <a:ext cx="7340769" cy="6051512"/>
            <a:chOff x="5682763" y="-1250693"/>
            <a:chExt cx="7340769" cy="6051512"/>
          </a:xfrm>
          <a:noFill/>
        </p:grpSpPr>
        <p:sp>
          <p:nvSpPr>
            <p:cNvPr id="53" name="Graphic 50">
              <a:extLst>
                <a:ext uri="{FF2B5EF4-FFF2-40B4-BE49-F238E27FC236}">
                  <a16:creationId xmlns:a16="http://schemas.microsoft.com/office/drawing/2014/main" id="{9AF18E33-A12B-484D-AEA1-86D4118E0049}"/>
                </a:ext>
              </a:extLst>
            </p:cNvPr>
            <p:cNvSpPr/>
            <p:nvPr/>
          </p:nvSpPr>
          <p:spPr>
            <a:xfrm>
              <a:off x="7100720" y="1093147"/>
              <a:ext cx="1465218" cy="1896321"/>
            </a:xfrm>
            <a:custGeom>
              <a:avLst/>
              <a:gdLst>
                <a:gd name="connsiteX0" fmla="*/ 1306654 w 1465218"/>
                <a:gd name="connsiteY0" fmla="*/ 1896322 h 1896321"/>
                <a:gd name="connsiteX1" fmla="*/ 1213747 w 1465218"/>
                <a:gd name="connsiteY1" fmla="*/ 1865985 h 1896321"/>
                <a:gd name="connsiteX2" fmla="*/ 479979 w 1465218"/>
                <a:gd name="connsiteY2" fmla="*/ 1132217 h 1896321"/>
                <a:gd name="connsiteX3" fmla="*/ 7865 w 1465218"/>
                <a:gd name="connsiteY3" fmla="*/ 206949 h 1896321"/>
                <a:gd name="connsiteX4" fmla="*/ 109619 w 1465218"/>
                <a:gd name="connsiteY4" fmla="*/ 7865 h 1896321"/>
                <a:gd name="connsiteX5" fmla="*/ 308704 w 1465218"/>
                <a:gd name="connsiteY5" fmla="*/ 109619 h 1896321"/>
                <a:gd name="connsiteX6" fmla="*/ 735945 w 1465218"/>
                <a:gd name="connsiteY6" fmla="*/ 946405 h 1896321"/>
                <a:gd name="connsiteX7" fmla="*/ 1400191 w 1465218"/>
                <a:gd name="connsiteY7" fmla="*/ 1610651 h 1896321"/>
                <a:gd name="connsiteX8" fmla="*/ 1434952 w 1465218"/>
                <a:gd name="connsiteY8" fmla="*/ 1831224 h 1896321"/>
                <a:gd name="connsiteX9" fmla="*/ 1306654 w 1465218"/>
                <a:gd name="connsiteY9" fmla="*/ 1896322 h 1896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5218" h="1896321">
                  <a:moveTo>
                    <a:pt x="1306654" y="1896322"/>
                  </a:moveTo>
                  <a:cubicBezTo>
                    <a:pt x="1274421" y="1896322"/>
                    <a:pt x="1242188" y="1886210"/>
                    <a:pt x="1213747" y="1865985"/>
                  </a:cubicBezTo>
                  <a:cubicBezTo>
                    <a:pt x="931869" y="1660581"/>
                    <a:pt x="684752" y="1414095"/>
                    <a:pt x="479979" y="1132217"/>
                  </a:cubicBezTo>
                  <a:cubicBezTo>
                    <a:pt x="274575" y="849707"/>
                    <a:pt x="115308" y="538124"/>
                    <a:pt x="7865" y="206949"/>
                  </a:cubicBezTo>
                  <a:cubicBezTo>
                    <a:pt x="-19311" y="124155"/>
                    <a:pt x="26194" y="35042"/>
                    <a:pt x="109619" y="7865"/>
                  </a:cubicBezTo>
                  <a:cubicBezTo>
                    <a:pt x="192413" y="-19311"/>
                    <a:pt x="281527" y="26193"/>
                    <a:pt x="308704" y="109619"/>
                  </a:cubicBezTo>
                  <a:cubicBezTo>
                    <a:pt x="406034" y="409194"/>
                    <a:pt x="549501" y="690440"/>
                    <a:pt x="735945" y="946405"/>
                  </a:cubicBezTo>
                  <a:cubicBezTo>
                    <a:pt x="921757" y="1201739"/>
                    <a:pt x="1145490" y="1424840"/>
                    <a:pt x="1400191" y="1610651"/>
                  </a:cubicBezTo>
                  <a:cubicBezTo>
                    <a:pt x="1470977" y="1661845"/>
                    <a:pt x="1486145" y="1761071"/>
                    <a:pt x="1434952" y="1831224"/>
                  </a:cubicBezTo>
                  <a:cubicBezTo>
                    <a:pt x="1403352" y="1874201"/>
                    <a:pt x="1355318" y="1896322"/>
                    <a:pt x="1306654" y="1896322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Graphic 50">
              <a:extLst>
                <a:ext uri="{FF2B5EF4-FFF2-40B4-BE49-F238E27FC236}">
                  <a16:creationId xmlns:a16="http://schemas.microsoft.com/office/drawing/2014/main" id="{33DD21B2-63C9-4238-BB7D-25DA47BF6C76}"/>
                </a:ext>
              </a:extLst>
            </p:cNvPr>
            <p:cNvSpPr/>
            <p:nvPr/>
          </p:nvSpPr>
          <p:spPr>
            <a:xfrm>
              <a:off x="9129782" y="3122839"/>
              <a:ext cx="1293083" cy="470201"/>
            </a:xfrm>
            <a:custGeom>
              <a:avLst/>
              <a:gdLst>
                <a:gd name="connsiteX0" fmla="*/ 1135081 w 1293083"/>
                <a:gd name="connsiteY0" fmla="*/ 470202 h 470201"/>
                <a:gd name="connsiteX1" fmla="*/ 109322 w 1293083"/>
                <a:gd name="connsiteY1" fmla="*/ 308407 h 470201"/>
                <a:gd name="connsiteX2" fmla="*/ 7568 w 1293083"/>
                <a:gd name="connsiteY2" fmla="*/ 109322 h 470201"/>
                <a:gd name="connsiteX3" fmla="*/ 206652 w 1293083"/>
                <a:gd name="connsiteY3" fmla="*/ 7568 h 470201"/>
                <a:gd name="connsiteX4" fmla="*/ 1135081 w 1293083"/>
                <a:gd name="connsiteY4" fmla="*/ 154195 h 470201"/>
                <a:gd name="connsiteX5" fmla="*/ 1293084 w 1293083"/>
                <a:gd name="connsiteY5" fmla="*/ 312199 h 470201"/>
                <a:gd name="connsiteX6" fmla="*/ 1135081 w 1293083"/>
                <a:gd name="connsiteY6" fmla="*/ 470202 h 470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3083" h="470201">
                  <a:moveTo>
                    <a:pt x="1135081" y="470202"/>
                  </a:moveTo>
                  <a:cubicBezTo>
                    <a:pt x="784945" y="470202"/>
                    <a:pt x="439865" y="415849"/>
                    <a:pt x="109322" y="308407"/>
                  </a:cubicBezTo>
                  <a:cubicBezTo>
                    <a:pt x="26528" y="281230"/>
                    <a:pt x="-18976" y="192116"/>
                    <a:pt x="7568" y="109322"/>
                  </a:cubicBezTo>
                  <a:cubicBezTo>
                    <a:pt x="34745" y="26528"/>
                    <a:pt x="123858" y="-18977"/>
                    <a:pt x="206652" y="7568"/>
                  </a:cubicBezTo>
                  <a:cubicBezTo>
                    <a:pt x="505595" y="104898"/>
                    <a:pt x="817810" y="154195"/>
                    <a:pt x="1135081" y="154195"/>
                  </a:cubicBezTo>
                  <a:cubicBezTo>
                    <a:pt x="1222298" y="154195"/>
                    <a:pt x="1293084" y="224981"/>
                    <a:pt x="1293084" y="312199"/>
                  </a:cubicBezTo>
                  <a:cubicBezTo>
                    <a:pt x="1293084" y="399416"/>
                    <a:pt x="1222298" y="470202"/>
                    <a:pt x="1135081" y="470202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Graphic 50">
              <a:extLst>
                <a:ext uri="{FF2B5EF4-FFF2-40B4-BE49-F238E27FC236}">
                  <a16:creationId xmlns:a16="http://schemas.microsoft.com/office/drawing/2014/main" id="{0BA499FD-31FE-4EA1-AD04-DC6A2EE1573C}"/>
                </a:ext>
              </a:extLst>
            </p:cNvPr>
            <p:cNvSpPr/>
            <p:nvPr/>
          </p:nvSpPr>
          <p:spPr>
            <a:xfrm>
              <a:off x="11083039" y="1974525"/>
              <a:ext cx="1896251" cy="1464937"/>
            </a:xfrm>
            <a:custGeom>
              <a:avLst/>
              <a:gdLst>
                <a:gd name="connsiteX0" fmla="*/ 158284 w 1896251"/>
                <a:gd name="connsiteY0" fmla="*/ 1464937 h 1464937"/>
                <a:gd name="connsiteX1" fmla="*/ 7865 w 1896251"/>
                <a:gd name="connsiteY1" fmla="*/ 1355599 h 1464937"/>
                <a:gd name="connsiteX2" fmla="*/ 109619 w 1896251"/>
                <a:gd name="connsiteY2" fmla="*/ 1156515 h 1464937"/>
                <a:gd name="connsiteX3" fmla="*/ 946406 w 1896251"/>
                <a:gd name="connsiteY3" fmla="*/ 729273 h 1464937"/>
                <a:gd name="connsiteX4" fmla="*/ 1370487 w 1896251"/>
                <a:gd name="connsiteY4" fmla="*/ 355121 h 1464937"/>
                <a:gd name="connsiteX5" fmla="*/ 1610652 w 1896251"/>
                <a:gd name="connsiteY5" fmla="*/ 65027 h 1464937"/>
                <a:gd name="connsiteX6" fmla="*/ 1831225 w 1896251"/>
                <a:gd name="connsiteY6" fmla="*/ 30266 h 1464937"/>
                <a:gd name="connsiteX7" fmla="*/ 1865985 w 1896251"/>
                <a:gd name="connsiteY7" fmla="*/ 250839 h 1464937"/>
                <a:gd name="connsiteX8" fmla="*/ 1600540 w 1896251"/>
                <a:gd name="connsiteY8" fmla="*/ 571270 h 1464937"/>
                <a:gd name="connsiteX9" fmla="*/ 1132217 w 1896251"/>
                <a:gd name="connsiteY9" fmla="*/ 984607 h 1464937"/>
                <a:gd name="connsiteX10" fmla="*/ 206950 w 1896251"/>
                <a:gd name="connsiteY10" fmla="*/ 1456721 h 1464937"/>
                <a:gd name="connsiteX11" fmla="*/ 158284 w 1896251"/>
                <a:gd name="connsiteY11" fmla="*/ 1464937 h 1464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96251" h="1464937">
                  <a:moveTo>
                    <a:pt x="158284" y="1464937"/>
                  </a:moveTo>
                  <a:cubicBezTo>
                    <a:pt x="91923" y="1464937"/>
                    <a:pt x="29986" y="1422592"/>
                    <a:pt x="7865" y="1355599"/>
                  </a:cubicBezTo>
                  <a:cubicBezTo>
                    <a:pt x="-19311" y="1272805"/>
                    <a:pt x="26193" y="1183691"/>
                    <a:pt x="109619" y="1156515"/>
                  </a:cubicBezTo>
                  <a:cubicBezTo>
                    <a:pt x="409194" y="1059184"/>
                    <a:pt x="690440" y="915717"/>
                    <a:pt x="946406" y="729273"/>
                  </a:cubicBezTo>
                  <a:cubicBezTo>
                    <a:pt x="1098721" y="618671"/>
                    <a:pt x="1241556" y="492268"/>
                    <a:pt x="1370487" y="355121"/>
                  </a:cubicBezTo>
                  <a:cubicBezTo>
                    <a:pt x="1456441" y="263479"/>
                    <a:pt x="1537338" y="166149"/>
                    <a:pt x="1610652" y="65027"/>
                  </a:cubicBezTo>
                  <a:cubicBezTo>
                    <a:pt x="1661845" y="-5758"/>
                    <a:pt x="1761071" y="-20927"/>
                    <a:pt x="1831225" y="30266"/>
                  </a:cubicBezTo>
                  <a:cubicBezTo>
                    <a:pt x="1902011" y="81459"/>
                    <a:pt x="1917179" y="180686"/>
                    <a:pt x="1865985" y="250839"/>
                  </a:cubicBezTo>
                  <a:cubicBezTo>
                    <a:pt x="1784456" y="362705"/>
                    <a:pt x="1695342" y="470780"/>
                    <a:pt x="1600540" y="571270"/>
                  </a:cubicBezTo>
                  <a:cubicBezTo>
                    <a:pt x="1457705" y="722953"/>
                    <a:pt x="1300333" y="861996"/>
                    <a:pt x="1132217" y="984607"/>
                  </a:cubicBezTo>
                  <a:cubicBezTo>
                    <a:pt x="849708" y="1190011"/>
                    <a:pt x="538125" y="1349279"/>
                    <a:pt x="206950" y="1456721"/>
                  </a:cubicBezTo>
                  <a:cubicBezTo>
                    <a:pt x="191149" y="1462409"/>
                    <a:pt x="174717" y="1464937"/>
                    <a:pt x="158284" y="1464937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Graphic 50">
              <a:extLst>
                <a:ext uri="{FF2B5EF4-FFF2-40B4-BE49-F238E27FC236}">
                  <a16:creationId xmlns:a16="http://schemas.microsoft.com/office/drawing/2014/main" id="{5B533DF3-D2A9-4D0A-BEA9-D6655D2A9D07}"/>
                </a:ext>
              </a:extLst>
            </p:cNvPr>
            <p:cNvSpPr/>
            <p:nvPr/>
          </p:nvSpPr>
          <p:spPr>
            <a:xfrm>
              <a:off x="6946790" y="-860109"/>
              <a:ext cx="470202" cy="1293083"/>
            </a:xfrm>
            <a:custGeom>
              <a:avLst/>
              <a:gdLst>
                <a:gd name="connsiteX0" fmla="*/ 158003 w 470202"/>
                <a:gd name="connsiteY0" fmla="*/ 1293084 h 1293083"/>
                <a:gd name="connsiteX1" fmla="*/ 0 w 470202"/>
                <a:gd name="connsiteY1" fmla="*/ 1135080 h 1293083"/>
                <a:gd name="connsiteX2" fmla="*/ 161796 w 470202"/>
                <a:gd name="connsiteY2" fmla="*/ 109322 h 1293083"/>
                <a:gd name="connsiteX3" fmla="*/ 360880 w 470202"/>
                <a:gd name="connsiteY3" fmla="*/ 7568 h 1293083"/>
                <a:gd name="connsiteX4" fmla="*/ 462634 w 470202"/>
                <a:gd name="connsiteY4" fmla="*/ 206652 h 1293083"/>
                <a:gd name="connsiteX5" fmla="*/ 316007 w 470202"/>
                <a:gd name="connsiteY5" fmla="*/ 1135080 h 1293083"/>
                <a:gd name="connsiteX6" fmla="*/ 158003 w 470202"/>
                <a:gd name="connsiteY6" fmla="*/ 1293084 h 129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0202" h="1293083">
                  <a:moveTo>
                    <a:pt x="158003" y="1293084"/>
                  </a:moveTo>
                  <a:cubicBezTo>
                    <a:pt x="70786" y="1293084"/>
                    <a:pt x="0" y="1222298"/>
                    <a:pt x="0" y="1135080"/>
                  </a:cubicBezTo>
                  <a:cubicBezTo>
                    <a:pt x="0" y="784945"/>
                    <a:pt x="54353" y="439865"/>
                    <a:pt x="161796" y="109322"/>
                  </a:cubicBezTo>
                  <a:cubicBezTo>
                    <a:pt x="188972" y="26528"/>
                    <a:pt x="278086" y="-18977"/>
                    <a:pt x="360880" y="7568"/>
                  </a:cubicBezTo>
                  <a:cubicBezTo>
                    <a:pt x="443674" y="34744"/>
                    <a:pt x="489179" y="123858"/>
                    <a:pt x="462634" y="206652"/>
                  </a:cubicBezTo>
                  <a:cubicBezTo>
                    <a:pt x="365304" y="505595"/>
                    <a:pt x="316007" y="817809"/>
                    <a:pt x="316007" y="1135080"/>
                  </a:cubicBezTo>
                  <a:cubicBezTo>
                    <a:pt x="316007" y="1222298"/>
                    <a:pt x="245221" y="1293084"/>
                    <a:pt x="158003" y="1293084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Graphic 50">
              <a:extLst>
                <a:ext uri="{FF2B5EF4-FFF2-40B4-BE49-F238E27FC236}">
                  <a16:creationId xmlns:a16="http://schemas.microsoft.com/office/drawing/2014/main" id="{16579868-FE32-444D-A606-BBFB70427C54}"/>
                </a:ext>
              </a:extLst>
            </p:cNvPr>
            <p:cNvSpPr/>
            <p:nvPr/>
          </p:nvSpPr>
          <p:spPr>
            <a:xfrm>
              <a:off x="6314776" y="116967"/>
              <a:ext cx="500835" cy="1488391"/>
            </a:xfrm>
            <a:custGeom>
              <a:avLst/>
              <a:gdLst>
                <a:gd name="connsiteX0" fmla="*/ 342551 w 500835"/>
                <a:gd name="connsiteY0" fmla="*/ 1488392 h 1488391"/>
                <a:gd name="connsiteX1" fmla="*/ 192132 w 500835"/>
                <a:gd name="connsiteY1" fmla="*/ 1379054 h 1488391"/>
                <a:gd name="connsiteX2" fmla="*/ 0 w 500835"/>
                <a:gd name="connsiteY2" fmla="*/ 158003 h 1488391"/>
                <a:gd name="connsiteX3" fmla="*/ 158003 w 500835"/>
                <a:gd name="connsiteY3" fmla="*/ 0 h 1488391"/>
                <a:gd name="connsiteX4" fmla="*/ 316007 w 500835"/>
                <a:gd name="connsiteY4" fmla="*/ 158003 h 1488391"/>
                <a:gd name="connsiteX5" fmla="*/ 492971 w 500835"/>
                <a:gd name="connsiteY5" fmla="*/ 1281092 h 1488391"/>
                <a:gd name="connsiteX6" fmla="*/ 391217 w 500835"/>
                <a:gd name="connsiteY6" fmla="*/ 1480176 h 1488391"/>
                <a:gd name="connsiteX7" fmla="*/ 342551 w 500835"/>
                <a:gd name="connsiteY7" fmla="*/ 1488392 h 148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0835" h="1488391">
                  <a:moveTo>
                    <a:pt x="342551" y="1488392"/>
                  </a:moveTo>
                  <a:cubicBezTo>
                    <a:pt x="276190" y="1488392"/>
                    <a:pt x="214253" y="1446047"/>
                    <a:pt x="192132" y="1379054"/>
                  </a:cubicBezTo>
                  <a:cubicBezTo>
                    <a:pt x="64465" y="985941"/>
                    <a:pt x="0" y="575132"/>
                    <a:pt x="0" y="158003"/>
                  </a:cubicBezTo>
                  <a:cubicBezTo>
                    <a:pt x="0" y="70786"/>
                    <a:pt x="70786" y="0"/>
                    <a:pt x="158003" y="0"/>
                  </a:cubicBezTo>
                  <a:cubicBezTo>
                    <a:pt x="245221" y="0"/>
                    <a:pt x="316007" y="70786"/>
                    <a:pt x="316007" y="158003"/>
                  </a:cubicBezTo>
                  <a:cubicBezTo>
                    <a:pt x="316007" y="541636"/>
                    <a:pt x="375416" y="919580"/>
                    <a:pt x="492971" y="1281092"/>
                  </a:cubicBezTo>
                  <a:cubicBezTo>
                    <a:pt x="520147" y="1363885"/>
                    <a:pt x="474642" y="1452999"/>
                    <a:pt x="391217" y="1480176"/>
                  </a:cubicBezTo>
                  <a:cubicBezTo>
                    <a:pt x="375416" y="1485864"/>
                    <a:pt x="358984" y="1488392"/>
                    <a:pt x="342551" y="1488392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Graphic 50">
              <a:extLst>
                <a:ext uri="{FF2B5EF4-FFF2-40B4-BE49-F238E27FC236}">
                  <a16:creationId xmlns:a16="http://schemas.microsoft.com/office/drawing/2014/main" id="{527D97ED-9263-4AFD-B856-47E4D42F6196}"/>
                </a:ext>
              </a:extLst>
            </p:cNvPr>
            <p:cNvSpPr/>
            <p:nvPr/>
          </p:nvSpPr>
          <p:spPr>
            <a:xfrm>
              <a:off x="10106859" y="3184831"/>
              <a:ext cx="2544417" cy="1040223"/>
            </a:xfrm>
            <a:custGeom>
              <a:avLst/>
              <a:gdLst>
                <a:gd name="connsiteX0" fmla="*/ 158003 w 2544417"/>
                <a:gd name="connsiteY0" fmla="*/ 1040224 h 1040223"/>
                <a:gd name="connsiteX1" fmla="*/ 0 w 2544417"/>
                <a:gd name="connsiteY1" fmla="*/ 882221 h 1040223"/>
                <a:gd name="connsiteX2" fmla="*/ 158003 w 2544417"/>
                <a:gd name="connsiteY2" fmla="*/ 724217 h 1040223"/>
                <a:gd name="connsiteX3" fmla="*/ 1281092 w 2544417"/>
                <a:gd name="connsiteY3" fmla="*/ 547253 h 1040223"/>
                <a:gd name="connsiteX4" fmla="*/ 2293578 w 2544417"/>
                <a:gd name="connsiteY4" fmla="*/ 30266 h 1040223"/>
                <a:gd name="connsiteX5" fmla="*/ 2514151 w 2544417"/>
                <a:gd name="connsiteY5" fmla="*/ 65027 h 1040223"/>
                <a:gd name="connsiteX6" fmla="*/ 2479390 w 2544417"/>
                <a:gd name="connsiteY6" fmla="*/ 285600 h 1040223"/>
                <a:gd name="connsiteX7" fmla="*/ 1378422 w 2544417"/>
                <a:gd name="connsiteY7" fmla="*/ 847460 h 1040223"/>
                <a:gd name="connsiteX8" fmla="*/ 158003 w 2544417"/>
                <a:gd name="connsiteY8" fmla="*/ 1040224 h 1040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4417" h="1040223">
                  <a:moveTo>
                    <a:pt x="158003" y="1040224"/>
                  </a:moveTo>
                  <a:cubicBezTo>
                    <a:pt x="70786" y="1040224"/>
                    <a:pt x="0" y="969439"/>
                    <a:pt x="0" y="882221"/>
                  </a:cubicBezTo>
                  <a:cubicBezTo>
                    <a:pt x="0" y="795003"/>
                    <a:pt x="70786" y="724217"/>
                    <a:pt x="158003" y="724217"/>
                  </a:cubicBezTo>
                  <a:cubicBezTo>
                    <a:pt x="541636" y="724217"/>
                    <a:pt x="919580" y="664808"/>
                    <a:pt x="1281092" y="547253"/>
                  </a:cubicBezTo>
                  <a:cubicBezTo>
                    <a:pt x="1643868" y="429699"/>
                    <a:pt x="1984523" y="255895"/>
                    <a:pt x="2293578" y="30266"/>
                  </a:cubicBezTo>
                  <a:cubicBezTo>
                    <a:pt x="2364363" y="-20927"/>
                    <a:pt x="2462957" y="-5758"/>
                    <a:pt x="2514151" y="65027"/>
                  </a:cubicBezTo>
                  <a:cubicBezTo>
                    <a:pt x="2565344" y="135813"/>
                    <a:pt x="2550176" y="234407"/>
                    <a:pt x="2479390" y="285600"/>
                  </a:cubicBezTo>
                  <a:cubicBezTo>
                    <a:pt x="2143159" y="530189"/>
                    <a:pt x="1772167" y="719793"/>
                    <a:pt x="1378422" y="847460"/>
                  </a:cubicBezTo>
                  <a:cubicBezTo>
                    <a:pt x="985942" y="975759"/>
                    <a:pt x="575133" y="1040224"/>
                    <a:pt x="158003" y="1040224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Graphic 50">
              <a:extLst>
                <a:ext uri="{FF2B5EF4-FFF2-40B4-BE49-F238E27FC236}">
                  <a16:creationId xmlns:a16="http://schemas.microsoft.com/office/drawing/2014/main" id="{5B061AB6-41B4-4D57-A44E-2CFFE2307EA3}"/>
                </a:ext>
              </a:extLst>
            </p:cNvPr>
            <p:cNvSpPr/>
            <p:nvPr/>
          </p:nvSpPr>
          <p:spPr>
            <a:xfrm>
              <a:off x="11474256" y="3696130"/>
              <a:ext cx="1549276" cy="945422"/>
            </a:xfrm>
            <a:custGeom>
              <a:avLst/>
              <a:gdLst>
                <a:gd name="connsiteX0" fmla="*/ 158285 w 1549276"/>
                <a:gd name="connsiteY0" fmla="*/ 945422 h 945422"/>
                <a:gd name="connsiteX1" fmla="*/ 7865 w 1549276"/>
                <a:gd name="connsiteY1" fmla="*/ 836083 h 945422"/>
                <a:gd name="connsiteX2" fmla="*/ 109620 w 1549276"/>
                <a:gd name="connsiteY2" fmla="*/ 636999 h 945422"/>
                <a:gd name="connsiteX3" fmla="*/ 1298438 w 1549276"/>
                <a:gd name="connsiteY3" fmla="*/ 30266 h 945422"/>
                <a:gd name="connsiteX4" fmla="*/ 1519010 w 1549276"/>
                <a:gd name="connsiteY4" fmla="*/ 65027 h 945422"/>
                <a:gd name="connsiteX5" fmla="*/ 1484249 w 1549276"/>
                <a:gd name="connsiteY5" fmla="*/ 285600 h 945422"/>
                <a:gd name="connsiteX6" fmla="*/ 206949 w 1549276"/>
                <a:gd name="connsiteY6" fmla="*/ 937206 h 945422"/>
                <a:gd name="connsiteX7" fmla="*/ 158285 w 1549276"/>
                <a:gd name="connsiteY7" fmla="*/ 945422 h 945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9276" h="945422">
                  <a:moveTo>
                    <a:pt x="158285" y="945422"/>
                  </a:moveTo>
                  <a:cubicBezTo>
                    <a:pt x="91923" y="945422"/>
                    <a:pt x="29986" y="903077"/>
                    <a:pt x="7865" y="836083"/>
                  </a:cubicBezTo>
                  <a:cubicBezTo>
                    <a:pt x="-19311" y="753290"/>
                    <a:pt x="26194" y="664176"/>
                    <a:pt x="109620" y="636999"/>
                  </a:cubicBezTo>
                  <a:cubicBezTo>
                    <a:pt x="534965" y="498588"/>
                    <a:pt x="935030" y="294448"/>
                    <a:pt x="1298438" y="30266"/>
                  </a:cubicBezTo>
                  <a:cubicBezTo>
                    <a:pt x="1369223" y="-20927"/>
                    <a:pt x="1467817" y="-5758"/>
                    <a:pt x="1519010" y="65027"/>
                  </a:cubicBezTo>
                  <a:cubicBezTo>
                    <a:pt x="1570204" y="135812"/>
                    <a:pt x="1555035" y="234407"/>
                    <a:pt x="1484249" y="285600"/>
                  </a:cubicBezTo>
                  <a:cubicBezTo>
                    <a:pt x="1094297" y="569374"/>
                    <a:pt x="664528" y="788682"/>
                    <a:pt x="206949" y="937206"/>
                  </a:cubicBezTo>
                  <a:cubicBezTo>
                    <a:pt x="190517" y="942894"/>
                    <a:pt x="174085" y="945422"/>
                    <a:pt x="158285" y="945422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Graphic 50">
              <a:extLst>
                <a:ext uri="{FF2B5EF4-FFF2-40B4-BE49-F238E27FC236}">
                  <a16:creationId xmlns:a16="http://schemas.microsoft.com/office/drawing/2014/main" id="{145C19D2-CAAD-4BC1-9CCC-2C0D9A5F5CDA}"/>
                </a:ext>
              </a:extLst>
            </p:cNvPr>
            <p:cNvSpPr/>
            <p:nvPr/>
          </p:nvSpPr>
          <p:spPr>
            <a:xfrm>
              <a:off x="5682763" y="-1250693"/>
              <a:ext cx="531507" cy="1683667"/>
            </a:xfrm>
            <a:custGeom>
              <a:avLst/>
              <a:gdLst>
                <a:gd name="connsiteX0" fmla="*/ 158003 w 531507"/>
                <a:gd name="connsiteY0" fmla="*/ 1683668 h 1683667"/>
                <a:gd name="connsiteX1" fmla="*/ 0 w 531507"/>
                <a:gd name="connsiteY1" fmla="*/ 1525665 h 1683667"/>
                <a:gd name="connsiteX2" fmla="*/ 223101 w 531507"/>
                <a:gd name="connsiteY2" fmla="*/ 109322 h 1683667"/>
                <a:gd name="connsiteX3" fmla="*/ 422185 w 531507"/>
                <a:gd name="connsiteY3" fmla="*/ 7568 h 1683667"/>
                <a:gd name="connsiteX4" fmla="*/ 523939 w 531507"/>
                <a:gd name="connsiteY4" fmla="*/ 206652 h 1683667"/>
                <a:gd name="connsiteX5" fmla="*/ 316007 w 531507"/>
                <a:gd name="connsiteY5" fmla="*/ 1525665 h 1683667"/>
                <a:gd name="connsiteX6" fmla="*/ 158003 w 531507"/>
                <a:gd name="connsiteY6" fmla="*/ 1683668 h 1683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1507" h="1683667">
                  <a:moveTo>
                    <a:pt x="158003" y="1683668"/>
                  </a:moveTo>
                  <a:cubicBezTo>
                    <a:pt x="70786" y="1683668"/>
                    <a:pt x="0" y="1612882"/>
                    <a:pt x="0" y="1525665"/>
                  </a:cubicBezTo>
                  <a:cubicBezTo>
                    <a:pt x="0" y="1041542"/>
                    <a:pt x="75210" y="565636"/>
                    <a:pt x="223101" y="109322"/>
                  </a:cubicBezTo>
                  <a:cubicBezTo>
                    <a:pt x="250277" y="26528"/>
                    <a:pt x="339391" y="-18977"/>
                    <a:pt x="422185" y="7568"/>
                  </a:cubicBezTo>
                  <a:cubicBezTo>
                    <a:pt x="504979" y="34744"/>
                    <a:pt x="550484" y="123858"/>
                    <a:pt x="523939" y="206652"/>
                  </a:cubicBezTo>
                  <a:cubicBezTo>
                    <a:pt x="386160" y="631365"/>
                    <a:pt x="316007" y="1075039"/>
                    <a:pt x="316007" y="1525665"/>
                  </a:cubicBezTo>
                  <a:cubicBezTo>
                    <a:pt x="316007" y="1612882"/>
                    <a:pt x="245221" y="1683668"/>
                    <a:pt x="158003" y="1683668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Graphic 50">
              <a:extLst>
                <a:ext uri="{FF2B5EF4-FFF2-40B4-BE49-F238E27FC236}">
                  <a16:creationId xmlns:a16="http://schemas.microsoft.com/office/drawing/2014/main" id="{5B38B959-5DD8-4E0F-8B80-633C376978F2}"/>
                </a:ext>
              </a:extLst>
            </p:cNvPr>
            <p:cNvSpPr/>
            <p:nvPr/>
          </p:nvSpPr>
          <p:spPr>
            <a:xfrm>
              <a:off x="10800178" y="4484813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4 w 316006"/>
                <a:gd name="connsiteY1" fmla="*/ 316007 h 316006"/>
                <a:gd name="connsiteX2" fmla="*/ 0 w 316006"/>
                <a:gd name="connsiteY2" fmla="*/ 158003 h 316006"/>
                <a:gd name="connsiteX3" fmla="*/ 158004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6" y="316007"/>
                    <a:pt x="158004" y="316007"/>
                  </a:cubicBezTo>
                  <a:cubicBezTo>
                    <a:pt x="70741" y="316007"/>
                    <a:pt x="0" y="245266"/>
                    <a:pt x="0" y="158003"/>
                  </a:cubicBezTo>
                  <a:cubicBezTo>
                    <a:pt x="0" y="70740"/>
                    <a:pt x="70741" y="0"/>
                    <a:pt x="158004" y="0"/>
                  </a:cubicBezTo>
                  <a:cubicBezTo>
                    <a:pt x="245266" y="0"/>
                    <a:pt x="316007" y="70740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Graphic 50">
              <a:extLst>
                <a:ext uri="{FF2B5EF4-FFF2-40B4-BE49-F238E27FC236}">
                  <a16:creationId xmlns:a16="http://schemas.microsoft.com/office/drawing/2014/main" id="{67ADA5BE-CC7A-4F23-A2DA-46EC81591D0B}"/>
                </a:ext>
              </a:extLst>
            </p:cNvPr>
            <p:cNvSpPr/>
            <p:nvPr/>
          </p:nvSpPr>
          <p:spPr>
            <a:xfrm>
              <a:off x="5730796" y="797645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3 w 316006"/>
                <a:gd name="connsiteY1" fmla="*/ 316007 h 316006"/>
                <a:gd name="connsiteX2" fmla="*/ 0 w 316006"/>
                <a:gd name="connsiteY2" fmla="*/ 158003 h 316006"/>
                <a:gd name="connsiteX3" fmla="*/ 158003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6" y="316007"/>
                    <a:pt x="158003" y="316007"/>
                  </a:cubicBezTo>
                  <a:cubicBezTo>
                    <a:pt x="70741" y="316007"/>
                    <a:pt x="0" y="245266"/>
                    <a:pt x="0" y="158003"/>
                  </a:cubicBezTo>
                  <a:cubicBezTo>
                    <a:pt x="0" y="70741"/>
                    <a:pt x="70741" y="0"/>
                    <a:pt x="158003" y="0"/>
                  </a:cubicBezTo>
                  <a:cubicBezTo>
                    <a:pt x="245266" y="0"/>
                    <a:pt x="316007" y="70741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Graphic 50">
              <a:extLst>
                <a:ext uri="{FF2B5EF4-FFF2-40B4-BE49-F238E27FC236}">
                  <a16:creationId xmlns:a16="http://schemas.microsoft.com/office/drawing/2014/main" id="{49266AC3-A879-4B5E-AF16-BC851AE53AA2}"/>
                </a:ext>
              </a:extLst>
            </p:cNvPr>
            <p:cNvSpPr/>
            <p:nvPr/>
          </p:nvSpPr>
          <p:spPr>
            <a:xfrm>
              <a:off x="9512134" y="3863543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4 w 316006"/>
                <a:gd name="connsiteY1" fmla="*/ 316007 h 316006"/>
                <a:gd name="connsiteX2" fmla="*/ 0 w 316006"/>
                <a:gd name="connsiteY2" fmla="*/ 158004 h 316006"/>
                <a:gd name="connsiteX3" fmla="*/ 158004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7" y="316007"/>
                    <a:pt x="158004" y="316007"/>
                  </a:cubicBezTo>
                  <a:cubicBezTo>
                    <a:pt x="70741" y="316007"/>
                    <a:pt x="0" y="245267"/>
                    <a:pt x="0" y="158004"/>
                  </a:cubicBezTo>
                  <a:cubicBezTo>
                    <a:pt x="0" y="70741"/>
                    <a:pt x="70741" y="0"/>
                    <a:pt x="158004" y="0"/>
                  </a:cubicBezTo>
                  <a:cubicBezTo>
                    <a:pt x="245267" y="0"/>
                    <a:pt x="316007" y="70741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Graphic 50">
              <a:extLst>
                <a:ext uri="{FF2B5EF4-FFF2-40B4-BE49-F238E27FC236}">
                  <a16:creationId xmlns:a16="http://schemas.microsoft.com/office/drawing/2014/main" id="{6F397FE6-C77F-407B-9B36-BDC3B3196747}"/>
                </a:ext>
              </a:extLst>
            </p:cNvPr>
            <p:cNvSpPr/>
            <p:nvPr/>
          </p:nvSpPr>
          <p:spPr>
            <a:xfrm>
              <a:off x="6721161" y="1830356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3 w 316006"/>
                <a:gd name="connsiteY1" fmla="*/ 316007 h 316006"/>
                <a:gd name="connsiteX2" fmla="*/ 0 w 316006"/>
                <a:gd name="connsiteY2" fmla="*/ 158003 h 316006"/>
                <a:gd name="connsiteX3" fmla="*/ 158003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6" y="316007"/>
                    <a:pt x="158003" y="316007"/>
                  </a:cubicBezTo>
                  <a:cubicBezTo>
                    <a:pt x="70741" y="316007"/>
                    <a:pt x="0" y="245266"/>
                    <a:pt x="0" y="158003"/>
                  </a:cubicBezTo>
                  <a:cubicBezTo>
                    <a:pt x="0" y="70740"/>
                    <a:pt x="70741" y="0"/>
                    <a:pt x="158003" y="0"/>
                  </a:cubicBezTo>
                  <a:cubicBezTo>
                    <a:pt x="245266" y="0"/>
                    <a:pt x="316007" y="70740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Graphic 50">
              <a:extLst>
                <a:ext uri="{FF2B5EF4-FFF2-40B4-BE49-F238E27FC236}">
                  <a16:creationId xmlns:a16="http://schemas.microsoft.com/office/drawing/2014/main" id="{F0EE6F4C-4232-40C2-B374-56962AA86F5A}"/>
                </a:ext>
              </a:extLst>
            </p:cNvPr>
            <p:cNvSpPr/>
            <p:nvPr/>
          </p:nvSpPr>
          <p:spPr>
            <a:xfrm>
              <a:off x="6975863" y="644066"/>
              <a:ext cx="316006" cy="316006"/>
            </a:xfrm>
            <a:custGeom>
              <a:avLst/>
              <a:gdLst>
                <a:gd name="connsiteX0" fmla="*/ 316007 w 316006"/>
                <a:gd name="connsiteY0" fmla="*/ 158003 h 316006"/>
                <a:gd name="connsiteX1" fmla="*/ 158003 w 316006"/>
                <a:gd name="connsiteY1" fmla="*/ 316007 h 316006"/>
                <a:gd name="connsiteX2" fmla="*/ 0 w 316006"/>
                <a:gd name="connsiteY2" fmla="*/ 158004 h 316006"/>
                <a:gd name="connsiteX3" fmla="*/ 158003 w 316006"/>
                <a:gd name="connsiteY3" fmla="*/ 0 h 316006"/>
                <a:gd name="connsiteX4" fmla="*/ 316007 w 316006"/>
                <a:gd name="connsiteY4" fmla="*/ 158003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3"/>
                  </a:moveTo>
                  <a:cubicBezTo>
                    <a:pt x="316007" y="245266"/>
                    <a:pt x="245266" y="316007"/>
                    <a:pt x="158003" y="316007"/>
                  </a:cubicBezTo>
                  <a:cubicBezTo>
                    <a:pt x="70741" y="316007"/>
                    <a:pt x="0" y="245266"/>
                    <a:pt x="0" y="158004"/>
                  </a:cubicBezTo>
                  <a:cubicBezTo>
                    <a:pt x="0" y="70741"/>
                    <a:pt x="70741" y="0"/>
                    <a:pt x="158003" y="0"/>
                  </a:cubicBezTo>
                  <a:cubicBezTo>
                    <a:pt x="245266" y="0"/>
                    <a:pt x="316007" y="70741"/>
                    <a:pt x="316007" y="158003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Graphic 50">
              <a:extLst>
                <a:ext uri="{FF2B5EF4-FFF2-40B4-BE49-F238E27FC236}">
                  <a16:creationId xmlns:a16="http://schemas.microsoft.com/office/drawing/2014/main" id="{4DFA737E-5D3B-4781-8027-C8C2C5C60D9B}"/>
                </a:ext>
              </a:extLst>
            </p:cNvPr>
            <p:cNvSpPr/>
            <p:nvPr/>
          </p:nvSpPr>
          <p:spPr>
            <a:xfrm>
              <a:off x="10602990" y="3238482"/>
              <a:ext cx="316006" cy="316006"/>
            </a:xfrm>
            <a:custGeom>
              <a:avLst/>
              <a:gdLst>
                <a:gd name="connsiteX0" fmla="*/ 316007 w 316006"/>
                <a:gd name="connsiteY0" fmla="*/ 158004 h 316006"/>
                <a:gd name="connsiteX1" fmla="*/ 158003 w 316006"/>
                <a:gd name="connsiteY1" fmla="*/ 316007 h 316006"/>
                <a:gd name="connsiteX2" fmla="*/ 0 w 316006"/>
                <a:gd name="connsiteY2" fmla="*/ 158004 h 316006"/>
                <a:gd name="connsiteX3" fmla="*/ 158003 w 316006"/>
                <a:gd name="connsiteY3" fmla="*/ 0 h 316006"/>
                <a:gd name="connsiteX4" fmla="*/ 316007 w 316006"/>
                <a:gd name="connsiteY4" fmla="*/ 158004 h 316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6006" h="316006">
                  <a:moveTo>
                    <a:pt x="316007" y="158004"/>
                  </a:moveTo>
                  <a:cubicBezTo>
                    <a:pt x="316007" y="245266"/>
                    <a:pt x="245266" y="316007"/>
                    <a:pt x="158003" y="316007"/>
                  </a:cubicBezTo>
                  <a:cubicBezTo>
                    <a:pt x="70740" y="316007"/>
                    <a:pt x="0" y="245266"/>
                    <a:pt x="0" y="158004"/>
                  </a:cubicBezTo>
                  <a:cubicBezTo>
                    <a:pt x="0" y="70741"/>
                    <a:pt x="70740" y="0"/>
                    <a:pt x="158003" y="0"/>
                  </a:cubicBezTo>
                  <a:cubicBezTo>
                    <a:pt x="245266" y="0"/>
                    <a:pt x="316007" y="70741"/>
                    <a:pt x="316007" y="158004"/>
                  </a:cubicBezTo>
                  <a:close/>
                </a:path>
              </a:pathLst>
            </a:custGeom>
            <a:grpFill/>
            <a:ln w="15875" cap="flat">
              <a:solidFill>
                <a:schemeClr val="tx2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71" name="Graphic 50">
            <a:extLst>
              <a:ext uri="{FF2B5EF4-FFF2-40B4-BE49-F238E27FC236}">
                <a16:creationId xmlns:a16="http://schemas.microsoft.com/office/drawing/2014/main" id="{9FBF810F-DD30-4481-A0CB-B491A20CBD19}"/>
              </a:ext>
            </a:extLst>
          </p:cNvPr>
          <p:cNvSpPr/>
          <p:nvPr/>
        </p:nvSpPr>
        <p:spPr>
          <a:xfrm>
            <a:off x="7578804" y="-2411087"/>
            <a:ext cx="5372117" cy="5372115"/>
          </a:xfrm>
          <a:custGeom>
            <a:avLst/>
            <a:gdLst>
              <a:gd name="connsiteX0" fmla="*/ 5372117 w 5372117"/>
              <a:gd name="connsiteY0" fmla="*/ 2686058 h 5372115"/>
              <a:gd name="connsiteX1" fmla="*/ 2686059 w 5372117"/>
              <a:gd name="connsiteY1" fmla="*/ 5372116 h 5372115"/>
              <a:gd name="connsiteX2" fmla="*/ 0 w 5372117"/>
              <a:gd name="connsiteY2" fmla="*/ 2686058 h 5372115"/>
              <a:gd name="connsiteX3" fmla="*/ 2686059 w 5372117"/>
              <a:gd name="connsiteY3" fmla="*/ 0 h 5372115"/>
              <a:gd name="connsiteX4" fmla="*/ 5372117 w 5372117"/>
              <a:gd name="connsiteY4" fmla="*/ 2686058 h 5372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2117" h="5372115">
                <a:moveTo>
                  <a:pt x="5372117" y="2686058"/>
                </a:moveTo>
                <a:cubicBezTo>
                  <a:pt x="5372117" y="4169526"/>
                  <a:pt x="4169528" y="5372116"/>
                  <a:pt x="2686059" y="5372116"/>
                </a:cubicBezTo>
                <a:cubicBezTo>
                  <a:pt x="1202589" y="5372116"/>
                  <a:pt x="0" y="4169526"/>
                  <a:pt x="0" y="2686058"/>
                </a:cubicBezTo>
                <a:cubicBezTo>
                  <a:pt x="0" y="1202589"/>
                  <a:pt x="1202589" y="0"/>
                  <a:pt x="2686059" y="0"/>
                </a:cubicBezTo>
                <a:cubicBezTo>
                  <a:pt x="4169528" y="0"/>
                  <a:pt x="5372117" y="1202589"/>
                  <a:pt x="5372117" y="2686058"/>
                </a:cubicBezTo>
                <a:close/>
              </a:path>
            </a:pathLst>
          </a:custGeom>
          <a:solidFill>
            <a:schemeClr val="tx1"/>
          </a:solidFill>
          <a:ln w="632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8" y="598516"/>
            <a:ext cx="5929808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4" y="1425570"/>
            <a:ext cx="5929808" cy="488955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1C9C7C17-F662-45FB-A067-D49A47713F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224B7B-73C4-44DD-9F04-4A8D09F93CB2}"/>
              </a:ext>
            </a:extLst>
          </p:cNvPr>
          <p:cNvSpPr txBox="1"/>
          <p:nvPr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190750"/>
            <a:ext cx="10198100" cy="3670300"/>
          </a:xfrm>
        </p:spPr>
        <p:txBody>
          <a:bodyPr>
            <a:no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50C3BA9-2289-4C2D-AACC-454CB20112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41603" y="598516"/>
            <a:ext cx="3149438" cy="377337"/>
          </a:xfrm>
        </p:spPr>
        <p:txBody>
          <a:bodyPr>
            <a:noAutofit/>
          </a:bodyPr>
          <a:lstStyle>
            <a:lvl1pPr algn="l">
              <a:defRPr sz="16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Tip:</a:t>
            </a:r>
            <a:endParaRPr lang="en-GB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C3D9F9D9-5B7C-45C3-A68B-27753EEBC43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449403" y="1093194"/>
            <a:ext cx="3129141" cy="902431"/>
          </a:xfrm>
        </p:spPr>
        <p:txBody>
          <a:bodyPr>
            <a:no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1E00D7F1-C725-4E6C-9673-3529139D89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1881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 4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F8DF411-3962-4635-A529-878B49F908F5}"/>
              </a:ext>
            </a:extLst>
          </p:cNvPr>
          <p:cNvSpPr/>
          <p:nvPr userDrawn="1"/>
        </p:nvSpPr>
        <p:spPr>
          <a:xfrm>
            <a:off x="991986" y="2825598"/>
            <a:ext cx="10217463" cy="488955"/>
          </a:xfrm>
          <a:prstGeom prst="roundRect">
            <a:avLst>
              <a:gd name="adj" fmla="val 50000"/>
            </a:avLst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Hurme FIN Mono 1a" panose="020B0609030202010107" pitchFamily="49" charset="0"/>
              <a:ea typeface="Hurme FIN Mono 1a" panose="020B0609030202010107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3" y="1425570"/>
            <a:ext cx="10208027" cy="488955"/>
          </a:xfrm>
        </p:spPr>
        <p:txBody>
          <a:bodyPr/>
          <a:lstStyle>
            <a:lvl1pPr algn="ctr">
              <a:defRPr b="0"/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190750"/>
            <a:ext cx="10198100" cy="360000"/>
          </a:xfrm>
        </p:spPr>
        <p:txBody>
          <a:bodyPr>
            <a:noAutofit/>
          </a:bodyPr>
          <a:lstStyle>
            <a:lvl1pPr algn="ctr">
              <a:defRPr sz="1400" b="1">
                <a:latin typeface="Hurme Geometric Sans 4 Bold" panose="020B0A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Timeline Title</a:t>
            </a:r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BC0263-4FAD-4F3B-9349-0EDA965969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50504" y="2830363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1F7769-3B64-45BA-998D-18626115B5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1423" y="3623793"/>
            <a:ext cx="237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1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E188CC6-EB72-4372-ADD1-265DEF453E9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01423" y="4015265"/>
            <a:ext cx="2376000" cy="1726470"/>
          </a:xfrm>
        </p:spPr>
        <p:txBody>
          <a:bodyPr>
            <a:norm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non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. In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tempus </a:t>
            </a:r>
            <a:r>
              <a:rPr lang="en-US" dirty="0" err="1"/>
              <a:t>dignissim</a:t>
            </a:r>
            <a:r>
              <a:rPr lang="en-US" dirty="0"/>
              <a:t>. Duis </a:t>
            </a:r>
            <a:r>
              <a:rPr lang="en-US" dirty="0" err="1"/>
              <a:t>tempor</a:t>
            </a:r>
            <a:r>
              <a:rPr lang="en-US" dirty="0"/>
              <a:t>, </a:t>
            </a:r>
            <a:r>
              <a:rPr lang="en-US" dirty="0" err="1"/>
              <a:t>felis</a:t>
            </a:r>
            <a:r>
              <a:rPr lang="en-US" dirty="0"/>
              <a:t> et Bibendum.</a:t>
            </a:r>
            <a:endParaRPr lang="en-GB" dirty="0"/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CC1F6718-7C9B-4E5D-825C-4936C0A2406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57967" y="2830363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2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612D61C-55E4-4944-AFFB-9C190AF4077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08886" y="3623793"/>
            <a:ext cx="237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2</a:t>
            </a:r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6BB273-B957-4268-B4BD-3D8E4A93A5D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8886" y="4015265"/>
            <a:ext cx="2376000" cy="1726470"/>
          </a:xfrm>
        </p:spPr>
        <p:txBody>
          <a:bodyPr>
            <a:norm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non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. In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tempus </a:t>
            </a:r>
            <a:r>
              <a:rPr lang="en-US" dirty="0" err="1"/>
              <a:t>dignissim</a:t>
            </a:r>
            <a:r>
              <a:rPr lang="en-US" dirty="0"/>
              <a:t>. Duis </a:t>
            </a:r>
            <a:r>
              <a:rPr lang="en-US" dirty="0" err="1"/>
              <a:t>tempor</a:t>
            </a:r>
            <a:r>
              <a:rPr lang="en-US" dirty="0"/>
              <a:t>, </a:t>
            </a:r>
            <a:r>
              <a:rPr lang="en-US" dirty="0" err="1"/>
              <a:t>felis</a:t>
            </a:r>
            <a:r>
              <a:rPr lang="en-US" dirty="0"/>
              <a:t> et Bibendum.</a:t>
            </a:r>
            <a:endParaRPr lang="en-GB" dirty="0"/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A21EB5BA-CA0D-4661-9AF8-BB780EC65B2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165430" y="2830363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3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C343150-E1A7-4969-8A74-0ED8CB14C34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6349" y="3623793"/>
            <a:ext cx="237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3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1140B5F-5FC7-45A2-B9E9-AAD63D582D9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6349" y="4015265"/>
            <a:ext cx="2376000" cy="1726470"/>
          </a:xfrm>
        </p:spPr>
        <p:txBody>
          <a:bodyPr>
            <a:norm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non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. In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tempus </a:t>
            </a:r>
            <a:r>
              <a:rPr lang="en-US" dirty="0" err="1"/>
              <a:t>dignissim</a:t>
            </a:r>
            <a:r>
              <a:rPr lang="en-US" dirty="0"/>
              <a:t>. Duis </a:t>
            </a:r>
            <a:r>
              <a:rPr lang="en-US" dirty="0" err="1"/>
              <a:t>tempor</a:t>
            </a:r>
            <a:r>
              <a:rPr lang="en-US" dirty="0"/>
              <a:t>, </a:t>
            </a:r>
            <a:r>
              <a:rPr lang="en-US" dirty="0" err="1"/>
              <a:t>felis</a:t>
            </a:r>
            <a:r>
              <a:rPr lang="en-US" dirty="0"/>
              <a:t> et Bibendum.</a:t>
            </a:r>
            <a:endParaRPr lang="en-GB" dirty="0"/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B78AC51-D17B-4E8A-A623-3E318F9BF51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772893" y="2830363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4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CA90AC6-92D8-4005-85B1-0B1D46D888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3813" y="3623793"/>
            <a:ext cx="237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4</a:t>
            </a:r>
            <a:endParaRPr lang="en-GB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276A7DD-15D0-4439-8A9C-D30E175A2B1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23813" y="4015265"/>
            <a:ext cx="2376000" cy="1726470"/>
          </a:xfrm>
        </p:spPr>
        <p:txBody>
          <a:bodyPr>
            <a:norm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non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. In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tempus </a:t>
            </a:r>
            <a:r>
              <a:rPr lang="en-US" dirty="0" err="1"/>
              <a:t>dignissim</a:t>
            </a:r>
            <a:r>
              <a:rPr lang="en-US" dirty="0"/>
              <a:t>. Duis </a:t>
            </a:r>
            <a:r>
              <a:rPr lang="en-US" dirty="0" err="1"/>
              <a:t>tempor</a:t>
            </a:r>
            <a:r>
              <a:rPr lang="en-US" dirty="0"/>
              <a:t>, </a:t>
            </a:r>
            <a:r>
              <a:rPr lang="en-US" dirty="0" err="1"/>
              <a:t>felis</a:t>
            </a:r>
            <a:r>
              <a:rPr lang="en-US" dirty="0"/>
              <a:t> et Bibendum.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1C9C7C17-F662-45FB-A067-D49A47713F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224B7B-73C4-44DD-9F04-4A8D09F93CB2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3129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 4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F8DF411-3962-4635-A529-878B49F908F5}"/>
              </a:ext>
            </a:extLst>
          </p:cNvPr>
          <p:cNvSpPr/>
          <p:nvPr userDrawn="1"/>
        </p:nvSpPr>
        <p:spPr>
          <a:xfrm>
            <a:off x="991986" y="2825598"/>
            <a:ext cx="10217463" cy="488955"/>
          </a:xfrm>
          <a:prstGeom prst="roundRect">
            <a:avLst>
              <a:gd name="adj" fmla="val 50000"/>
            </a:avLst>
          </a:prstGeom>
          <a:noFill/>
          <a:ln w="158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Hurme FIN Mono 1a" panose="020B0609030202010107" pitchFamily="49" charset="0"/>
              <a:ea typeface="Hurme FIN Mono 1a" panose="020B0609030202010107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3" y="1425570"/>
            <a:ext cx="10208027" cy="488955"/>
          </a:xfrm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190750"/>
            <a:ext cx="10198100" cy="360000"/>
          </a:xfr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Timeline Title</a:t>
            </a:r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BC0263-4FAD-4F3B-9349-0EDA965969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50504" y="2830363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1F7769-3B64-45BA-998D-18626115B5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1423" y="3623793"/>
            <a:ext cx="237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1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E188CC6-EB72-4372-ADD1-265DEF453E9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01423" y="4015265"/>
            <a:ext cx="2376000" cy="1726470"/>
          </a:xfrm>
        </p:spPr>
        <p:txBody>
          <a:bodyPr>
            <a:norm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non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. In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tempus </a:t>
            </a:r>
            <a:r>
              <a:rPr lang="en-US" dirty="0" err="1"/>
              <a:t>dignissim</a:t>
            </a:r>
            <a:r>
              <a:rPr lang="en-US" dirty="0"/>
              <a:t>. Duis </a:t>
            </a:r>
            <a:r>
              <a:rPr lang="en-US" dirty="0" err="1"/>
              <a:t>tempor</a:t>
            </a:r>
            <a:r>
              <a:rPr lang="en-US" dirty="0"/>
              <a:t>, </a:t>
            </a:r>
            <a:r>
              <a:rPr lang="en-US" dirty="0" err="1"/>
              <a:t>felis</a:t>
            </a:r>
            <a:r>
              <a:rPr lang="en-US" dirty="0"/>
              <a:t> et Bibendum.</a:t>
            </a:r>
            <a:endParaRPr lang="en-GB" dirty="0"/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CC1F6718-7C9B-4E5D-825C-4936C0A2406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57967" y="2830363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2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612D61C-55E4-4944-AFFB-9C190AF4077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08886" y="3623793"/>
            <a:ext cx="237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2</a:t>
            </a:r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6BB273-B957-4268-B4BD-3D8E4A93A5D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8886" y="4015265"/>
            <a:ext cx="2376000" cy="1726470"/>
          </a:xfrm>
        </p:spPr>
        <p:txBody>
          <a:bodyPr>
            <a:norm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non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. In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tempus </a:t>
            </a:r>
            <a:r>
              <a:rPr lang="en-US" dirty="0" err="1"/>
              <a:t>dignissim</a:t>
            </a:r>
            <a:r>
              <a:rPr lang="en-US" dirty="0"/>
              <a:t>. Duis </a:t>
            </a:r>
            <a:r>
              <a:rPr lang="en-US" dirty="0" err="1"/>
              <a:t>tempor</a:t>
            </a:r>
            <a:r>
              <a:rPr lang="en-US" dirty="0"/>
              <a:t>, </a:t>
            </a:r>
            <a:r>
              <a:rPr lang="en-US" dirty="0" err="1"/>
              <a:t>felis</a:t>
            </a:r>
            <a:r>
              <a:rPr lang="en-US" dirty="0"/>
              <a:t> et Bibendum.</a:t>
            </a:r>
            <a:endParaRPr lang="en-GB" dirty="0"/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A21EB5BA-CA0D-4661-9AF8-BB780EC65B2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165430" y="2830363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3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C343150-E1A7-4969-8A74-0ED8CB14C34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6349" y="3623793"/>
            <a:ext cx="237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3</a:t>
            </a:r>
            <a:endParaRPr lang="en-GB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1140B5F-5FC7-45A2-B9E9-AAD63D582D9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6349" y="4015265"/>
            <a:ext cx="2376000" cy="1726470"/>
          </a:xfrm>
        </p:spPr>
        <p:txBody>
          <a:bodyPr>
            <a:norm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non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. In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tempus </a:t>
            </a:r>
            <a:r>
              <a:rPr lang="en-US" dirty="0" err="1"/>
              <a:t>dignissim</a:t>
            </a:r>
            <a:r>
              <a:rPr lang="en-US" dirty="0"/>
              <a:t>. Duis </a:t>
            </a:r>
            <a:r>
              <a:rPr lang="en-US" dirty="0" err="1"/>
              <a:t>tempor</a:t>
            </a:r>
            <a:r>
              <a:rPr lang="en-US" dirty="0"/>
              <a:t>, </a:t>
            </a:r>
            <a:r>
              <a:rPr lang="en-US" dirty="0" err="1"/>
              <a:t>felis</a:t>
            </a:r>
            <a:r>
              <a:rPr lang="en-US" dirty="0"/>
              <a:t> et Bibendum.</a:t>
            </a:r>
            <a:endParaRPr lang="en-GB" dirty="0"/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B78AC51-D17B-4E8A-A623-3E318F9BF51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772893" y="2830363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4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CA90AC6-92D8-4005-85B1-0B1D46D888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23813" y="3623793"/>
            <a:ext cx="237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4</a:t>
            </a:r>
            <a:endParaRPr lang="en-GB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276A7DD-15D0-4439-8A9C-D30E175A2B1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23813" y="4015265"/>
            <a:ext cx="2376000" cy="1726470"/>
          </a:xfrm>
        </p:spPr>
        <p:txBody>
          <a:bodyPr>
            <a:normAutofit/>
          </a:bodyPr>
          <a:lstStyle>
            <a:lvl1pPr algn="ct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non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</a:t>
            </a:r>
            <a:r>
              <a:rPr lang="en-US" dirty="0" err="1"/>
              <a:t>facilisis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. In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tempus </a:t>
            </a:r>
            <a:r>
              <a:rPr lang="en-US" dirty="0" err="1"/>
              <a:t>dignissim</a:t>
            </a:r>
            <a:r>
              <a:rPr lang="en-US" dirty="0"/>
              <a:t>. Duis </a:t>
            </a:r>
            <a:r>
              <a:rPr lang="en-US" dirty="0" err="1"/>
              <a:t>tempor</a:t>
            </a:r>
            <a:r>
              <a:rPr lang="en-US" dirty="0"/>
              <a:t>, </a:t>
            </a:r>
            <a:r>
              <a:rPr lang="en-US" dirty="0" err="1"/>
              <a:t>felis</a:t>
            </a:r>
            <a:r>
              <a:rPr lang="en-US" dirty="0"/>
              <a:t> et Bibendum.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1C9C7C17-F662-45FB-A067-D49A47713F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224B7B-73C4-44DD-9F04-4A8D09F93CB2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 Geometric Sans 4 Bold" panose="020B0A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 Geometric Sans 4 Bold" panose="020B0A00020000000000" pitchFamily="34" charset="0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DB1167AC-307A-4DBA-8EC5-D7847ECB8E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7861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 6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F8DF411-3962-4635-A529-878B49F908F5}"/>
              </a:ext>
            </a:extLst>
          </p:cNvPr>
          <p:cNvSpPr/>
          <p:nvPr userDrawn="1"/>
        </p:nvSpPr>
        <p:spPr>
          <a:xfrm>
            <a:off x="991986" y="3443106"/>
            <a:ext cx="10217463" cy="488955"/>
          </a:xfrm>
          <a:prstGeom prst="roundRect">
            <a:avLst>
              <a:gd name="adj" fmla="val 50000"/>
            </a:avLst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Hurme FIN Mono 1a" panose="020B0609030202010107" pitchFamily="49" charset="0"/>
              <a:ea typeface="Hurme FIN Mono 1a" panose="020B0609030202010107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3" y="1425570"/>
            <a:ext cx="10208027" cy="488955"/>
          </a:xfrm>
        </p:spPr>
        <p:txBody>
          <a:bodyPr/>
          <a:lstStyle>
            <a:lvl1pPr algn="ctr">
              <a:defRPr b="0"/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521131"/>
            <a:ext cx="10198100" cy="360000"/>
          </a:xfrm>
        </p:spPr>
        <p:txBody>
          <a:bodyPr>
            <a:noAutofit/>
          </a:bodyPr>
          <a:lstStyle>
            <a:lvl1pPr algn="ctr">
              <a:defRPr sz="1400" b="1">
                <a:latin typeface="Hurme Geometric Sans 4 Bold" panose="020B0A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Timeline Title</a:t>
            </a:r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BC0263-4FAD-4F3B-9349-0EDA965969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90504" y="3447871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1F7769-3B64-45BA-998D-18626115B5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1423" y="4241301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1</a:t>
            </a:r>
            <a:endParaRPr lang="en-GB" dirty="0"/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CC1F6718-7C9B-4E5D-825C-4936C0A2406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00909" y="3447871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2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612D61C-55E4-4944-AFFB-9C190AF4077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11828" y="4241301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2</a:t>
            </a:r>
            <a:endParaRPr lang="en-GB" dirty="0"/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A21EB5BA-CA0D-4661-9AF8-BB780EC65B2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11314" y="3447871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3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C343150-E1A7-4969-8A74-0ED8CB14C34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2233" y="4241301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3</a:t>
            </a:r>
            <a:endParaRPr lang="en-GB" dirty="0"/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B78AC51-D17B-4E8A-A623-3E318F9BF51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721719" y="3447871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4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CA90AC6-92D8-4005-85B1-0B1D46D888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2638" y="4241301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4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1C9C7C17-F662-45FB-A067-D49A47713F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224B7B-73C4-44DD-9F04-4A8D09F93CB2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CB1C5194-6402-4BDA-860E-B0874D5202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432124" y="3443106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5</a:t>
            </a:r>
            <a:endParaRPr lang="en-GB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4D4B312-0478-4A5D-9A72-691D37D997A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43043" y="4236536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5</a:t>
            </a:r>
            <a:endParaRPr lang="en-GB" dirty="0"/>
          </a:p>
        </p:txBody>
      </p:sp>
      <p:sp>
        <p:nvSpPr>
          <p:cNvPr id="22" name="Text Placeholder 25">
            <a:extLst>
              <a:ext uri="{FF2B5EF4-FFF2-40B4-BE49-F238E27FC236}">
                <a16:creationId xmlns:a16="http://schemas.microsoft.com/office/drawing/2014/main" id="{597994AF-F12F-4A2B-A3FF-10BB3BD3FBB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142530" y="3443106"/>
            <a:ext cx="477838" cy="479425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6</a:t>
            </a:r>
            <a:endParaRPr lang="en-GB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EDC47C94-DC3B-419B-92EB-FA4EF998D74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553449" y="4236536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1451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 6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F8DF411-3962-4635-A529-878B49F908F5}"/>
              </a:ext>
            </a:extLst>
          </p:cNvPr>
          <p:cNvSpPr/>
          <p:nvPr userDrawn="1"/>
        </p:nvSpPr>
        <p:spPr>
          <a:xfrm>
            <a:off x="991986" y="3443106"/>
            <a:ext cx="10217463" cy="488955"/>
          </a:xfrm>
          <a:prstGeom prst="roundRect">
            <a:avLst>
              <a:gd name="adj" fmla="val 50000"/>
            </a:avLst>
          </a:prstGeom>
          <a:noFill/>
          <a:ln w="158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  <a:latin typeface="Hurme FIN Mono 1a" panose="020B0609030202010107" pitchFamily="49" charset="0"/>
              <a:ea typeface="Hurme FIN Mono 1a" panose="020B0609030202010107" pitchFamily="49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3" y="1425570"/>
            <a:ext cx="10208027" cy="488955"/>
          </a:xfrm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Sub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E6A979-FE4A-4C10-89A2-DF4E3F2890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521131"/>
            <a:ext cx="10198100" cy="360000"/>
          </a:xfr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Timeline Title</a:t>
            </a:r>
            <a:endParaRPr lang="en-GB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9BC0263-4FAD-4F3B-9349-0EDA965969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90504" y="3447871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1F7769-3B64-45BA-998D-18626115B5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1423" y="4241301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1</a:t>
            </a:r>
            <a:endParaRPr lang="en-GB" dirty="0"/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CC1F6718-7C9B-4E5D-825C-4936C0A2406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00909" y="3447871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2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612D61C-55E4-4944-AFFB-9C190AF4077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11828" y="4241301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2</a:t>
            </a:r>
            <a:endParaRPr lang="en-GB" dirty="0"/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A21EB5BA-CA0D-4661-9AF8-BB780EC65B2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11314" y="3447871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3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C343150-E1A7-4969-8A74-0ED8CB14C34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2233" y="4241301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3</a:t>
            </a:r>
            <a:endParaRPr lang="en-GB" dirty="0"/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BB78AC51-D17B-4E8A-A623-3E318F9BF51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721719" y="3447871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4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CA90AC6-92D8-4005-85B1-0B1D46D888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2638" y="4241301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4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1C9C7C17-F662-45FB-A067-D49A47713F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224B7B-73C4-44DD-9F04-4A8D09F93CB2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CB1C5194-6402-4BDA-860E-B0874D5202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432124" y="3443106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5</a:t>
            </a:r>
            <a:endParaRPr lang="en-GB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4D4B312-0478-4A5D-9A72-691D37D997A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843043" y="4236536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5</a:t>
            </a:r>
            <a:endParaRPr lang="en-GB" dirty="0"/>
          </a:p>
        </p:txBody>
      </p:sp>
      <p:sp>
        <p:nvSpPr>
          <p:cNvPr id="22" name="Text Placeholder 25">
            <a:extLst>
              <a:ext uri="{FF2B5EF4-FFF2-40B4-BE49-F238E27FC236}">
                <a16:creationId xmlns:a16="http://schemas.microsoft.com/office/drawing/2014/main" id="{597994AF-F12F-4A2B-A3FF-10BB3BD3FBB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142530" y="3443106"/>
            <a:ext cx="477838" cy="479425"/>
          </a:xfrm>
          <a:prstGeom prst="ellipse">
            <a:avLst/>
          </a:prstGeom>
          <a:solidFill>
            <a:schemeClr val="tx1"/>
          </a:solidFill>
          <a:ln w="15875"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6</a:t>
            </a:r>
            <a:endParaRPr lang="en-GB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EDC47C94-DC3B-419B-92EB-FA4EF998D74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553449" y="4236536"/>
            <a:ext cx="1656000" cy="324000"/>
          </a:xfrm>
        </p:spPr>
        <p:txBody>
          <a:bodyPr>
            <a:normAutofit/>
          </a:bodyPr>
          <a:lstStyle>
            <a:lvl1pPr algn="ctr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6</a:t>
            </a:r>
            <a:endParaRPr lang="en-GB" dirty="0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BD848E7A-27DB-4889-9F95-3B2AB631D6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3469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Half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2186" y="1913446"/>
            <a:ext cx="4122739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5324475" y="1087472"/>
            <a:ext cx="5875338" cy="4772922"/>
          </a:xfrm>
        </p:spPr>
        <p:txBody>
          <a:bodyPr anchor="t">
            <a:normAutofit/>
          </a:bodyPr>
          <a:lstStyle>
            <a:lvl1pPr algn="l">
              <a:defRPr sz="1200" b="1"/>
            </a:lvl1pPr>
          </a:lstStyle>
          <a:p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24445" y="598516"/>
            <a:ext cx="5875569" cy="488955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2B33FC4-DC67-4691-8C82-E7F71B5E1E1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730975"/>
            <a:ext cx="4113213" cy="1679580"/>
          </a:xfrm>
        </p:spPr>
        <p:txBody>
          <a:bodyPr>
            <a:normAutofit/>
          </a:bodyPr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00D46024-B5CE-4FA8-83C4-104731E0BF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A368F9-68AF-4CF0-91F3-B9B7667DA61C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0896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Half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8" y="1913446"/>
            <a:ext cx="4122938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5324475" y="1087472"/>
            <a:ext cx="5875338" cy="4772922"/>
          </a:xfrm>
        </p:spPr>
        <p:txBody>
          <a:bodyPr anchor="t">
            <a:norm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324445" y="598516"/>
            <a:ext cx="5875569" cy="488955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2B33FC4-DC67-4691-8C82-E7F71B5E1E1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3" y="2730975"/>
            <a:ext cx="4113213" cy="1679580"/>
          </a:xfrm>
        </p:spPr>
        <p:txBody>
          <a:bodyPr>
            <a:norm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FCA561C6-97CA-418C-878D-66FCC0C0BD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79CB37-7B31-404B-A3DA-4E7BE343E2BE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97A8199-0A6B-4A2C-826B-99BFF6B78F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6878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 Callou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9EDAEE83-E3F0-42D7-A6D3-5EF85F731844}"/>
              </a:ext>
            </a:extLst>
          </p:cNvPr>
          <p:cNvGrpSpPr/>
          <p:nvPr userDrawn="1"/>
        </p:nvGrpSpPr>
        <p:grpSpPr>
          <a:xfrm>
            <a:off x="6409770" y="209239"/>
            <a:ext cx="7037583" cy="7199999"/>
            <a:chOff x="6409770" y="-171000"/>
            <a:chExt cx="7037583" cy="7199999"/>
          </a:xfrm>
        </p:grpSpPr>
        <p:sp>
          <p:nvSpPr>
            <p:cNvPr id="33" name="Graphic 13">
              <a:extLst>
                <a:ext uri="{FF2B5EF4-FFF2-40B4-BE49-F238E27FC236}">
                  <a16:creationId xmlns:a16="http://schemas.microsoft.com/office/drawing/2014/main" id="{2C2A8D95-B410-43A0-ADF3-6A971995E21C}"/>
                </a:ext>
              </a:extLst>
            </p:cNvPr>
            <p:cNvSpPr/>
            <p:nvPr/>
          </p:nvSpPr>
          <p:spPr>
            <a:xfrm>
              <a:off x="7267469" y="3175379"/>
              <a:ext cx="620352" cy="1226536"/>
            </a:xfrm>
            <a:custGeom>
              <a:avLst/>
              <a:gdLst>
                <a:gd name="connsiteX0" fmla="*/ 366341 w 620352"/>
                <a:gd name="connsiteY0" fmla="*/ 1226536 h 1226536"/>
                <a:gd name="connsiteX1" fmla="*/ 125401 w 620352"/>
                <a:gd name="connsiteY1" fmla="*/ 1051116 h 1226536"/>
                <a:gd name="connsiteX2" fmla="*/ 0 w 620352"/>
                <a:gd name="connsiteY2" fmla="*/ 253620 h 1226536"/>
                <a:gd name="connsiteX3" fmla="*/ 253620 w 620352"/>
                <a:gd name="connsiteY3" fmla="*/ 0 h 1226536"/>
                <a:gd name="connsiteX4" fmla="*/ 507241 w 620352"/>
                <a:gd name="connsiteY4" fmla="*/ 253620 h 1226536"/>
                <a:gd name="connsiteX5" fmla="*/ 607985 w 620352"/>
                <a:gd name="connsiteY5" fmla="*/ 894716 h 1226536"/>
                <a:gd name="connsiteX6" fmla="*/ 445245 w 620352"/>
                <a:gd name="connsiteY6" fmla="*/ 1214560 h 1226536"/>
                <a:gd name="connsiteX7" fmla="*/ 366341 w 620352"/>
                <a:gd name="connsiteY7" fmla="*/ 1226536 h 122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0352" h="1226536">
                  <a:moveTo>
                    <a:pt x="366341" y="1226536"/>
                  </a:moveTo>
                  <a:cubicBezTo>
                    <a:pt x="259256" y="1226536"/>
                    <a:pt x="159922" y="1158200"/>
                    <a:pt x="125401" y="1051116"/>
                  </a:cubicBezTo>
                  <a:cubicBezTo>
                    <a:pt x="42270" y="793973"/>
                    <a:pt x="0" y="526262"/>
                    <a:pt x="0" y="253620"/>
                  </a:cubicBezTo>
                  <a:cubicBezTo>
                    <a:pt x="0" y="113425"/>
                    <a:pt x="113425" y="0"/>
                    <a:pt x="253620" y="0"/>
                  </a:cubicBezTo>
                  <a:cubicBezTo>
                    <a:pt x="393816" y="0"/>
                    <a:pt x="507241" y="113425"/>
                    <a:pt x="507241" y="253620"/>
                  </a:cubicBezTo>
                  <a:cubicBezTo>
                    <a:pt x="507241" y="472720"/>
                    <a:pt x="541057" y="688298"/>
                    <a:pt x="607985" y="894716"/>
                  </a:cubicBezTo>
                  <a:cubicBezTo>
                    <a:pt x="650959" y="1027867"/>
                    <a:pt x="578395" y="1170881"/>
                    <a:pt x="445245" y="1214560"/>
                  </a:cubicBezTo>
                  <a:cubicBezTo>
                    <a:pt x="418474" y="1222309"/>
                    <a:pt x="392407" y="1226536"/>
                    <a:pt x="366341" y="1226536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Graphic 13">
              <a:extLst>
                <a:ext uri="{FF2B5EF4-FFF2-40B4-BE49-F238E27FC236}">
                  <a16:creationId xmlns:a16="http://schemas.microsoft.com/office/drawing/2014/main" id="{56551338-935B-4CFD-A248-86554DDB140E}"/>
                </a:ext>
              </a:extLst>
            </p:cNvPr>
            <p:cNvSpPr/>
            <p:nvPr/>
          </p:nvSpPr>
          <p:spPr>
            <a:xfrm>
              <a:off x="8226221" y="5057732"/>
              <a:ext cx="1875455" cy="951150"/>
            </a:xfrm>
            <a:custGeom>
              <a:avLst/>
              <a:gdLst>
                <a:gd name="connsiteX0" fmla="*/ 1621131 w 1875455"/>
                <a:gd name="connsiteY0" fmla="*/ 951150 h 951150"/>
                <a:gd name="connsiteX1" fmla="*/ 823636 w 1875455"/>
                <a:gd name="connsiteY1" fmla="*/ 825749 h 951150"/>
                <a:gd name="connsiteX2" fmla="*/ 104340 w 1875455"/>
                <a:gd name="connsiteY2" fmla="*/ 458704 h 951150"/>
                <a:gd name="connsiteX3" fmla="*/ 48685 w 1875455"/>
                <a:gd name="connsiteY3" fmla="*/ 104340 h 951150"/>
                <a:gd name="connsiteX4" fmla="*/ 403049 w 1875455"/>
                <a:gd name="connsiteY4" fmla="*/ 48684 h 951150"/>
                <a:gd name="connsiteX5" fmla="*/ 980740 w 1875455"/>
                <a:gd name="connsiteY5" fmla="*/ 343166 h 951150"/>
                <a:gd name="connsiteX6" fmla="*/ 1621836 w 1875455"/>
                <a:gd name="connsiteY6" fmla="*/ 443910 h 951150"/>
                <a:gd name="connsiteX7" fmla="*/ 1875456 w 1875455"/>
                <a:gd name="connsiteY7" fmla="*/ 697530 h 951150"/>
                <a:gd name="connsiteX8" fmla="*/ 1621131 w 1875455"/>
                <a:gd name="connsiteY8" fmla="*/ 951150 h 95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5455" h="951150">
                  <a:moveTo>
                    <a:pt x="1621131" y="951150"/>
                  </a:moveTo>
                  <a:cubicBezTo>
                    <a:pt x="1348489" y="951150"/>
                    <a:pt x="1080779" y="908880"/>
                    <a:pt x="823636" y="825749"/>
                  </a:cubicBezTo>
                  <a:cubicBezTo>
                    <a:pt x="565788" y="741913"/>
                    <a:pt x="324144" y="618626"/>
                    <a:pt x="104340" y="458704"/>
                  </a:cubicBezTo>
                  <a:cubicBezTo>
                    <a:pt x="-9085" y="376277"/>
                    <a:pt x="-33742" y="217765"/>
                    <a:pt x="48685" y="104340"/>
                  </a:cubicBezTo>
                  <a:cubicBezTo>
                    <a:pt x="131111" y="-9084"/>
                    <a:pt x="289624" y="-33742"/>
                    <a:pt x="403049" y="48684"/>
                  </a:cubicBezTo>
                  <a:cubicBezTo>
                    <a:pt x="579878" y="176904"/>
                    <a:pt x="773616" y="276238"/>
                    <a:pt x="980740" y="343166"/>
                  </a:cubicBezTo>
                  <a:cubicBezTo>
                    <a:pt x="1187158" y="410094"/>
                    <a:pt x="1402736" y="443910"/>
                    <a:pt x="1621836" y="443910"/>
                  </a:cubicBezTo>
                  <a:cubicBezTo>
                    <a:pt x="1762031" y="443910"/>
                    <a:pt x="1875456" y="557334"/>
                    <a:pt x="1875456" y="697530"/>
                  </a:cubicBezTo>
                  <a:cubicBezTo>
                    <a:pt x="1875456" y="837725"/>
                    <a:pt x="1761327" y="951150"/>
                    <a:pt x="1621131" y="95115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Graphic 13">
              <a:extLst>
                <a:ext uri="{FF2B5EF4-FFF2-40B4-BE49-F238E27FC236}">
                  <a16:creationId xmlns:a16="http://schemas.microsoft.com/office/drawing/2014/main" id="{94A0678F-3B09-453C-B31D-01EDA23BF8B4}"/>
                </a:ext>
              </a:extLst>
            </p:cNvPr>
            <p:cNvSpPr/>
            <p:nvPr/>
          </p:nvSpPr>
          <p:spPr>
            <a:xfrm>
              <a:off x="10961095" y="3175379"/>
              <a:ext cx="1465436" cy="2389667"/>
            </a:xfrm>
            <a:custGeom>
              <a:avLst/>
              <a:gdLst>
                <a:gd name="connsiteX0" fmla="*/ 253694 w 1465436"/>
                <a:gd name="connsiteY0" fmla="*/ 2389668 h 2389667"/>
                <a:gd name="connsiteX1" fmla="*/ 48685 w 1465436"/>
                <a:gd name="connsiteY1" fmla="*/ 2285401 h 2389667"/>
                <a:gd name="connsiteX2" fmla="*/ 104340 w 1465436"/>
                <a:gd name="connsiteY2" fmla="*/ 1931037 h 2389667"/>
                <a:gd name="connsiteX3" fmla="*/ 562970 w 1465436"/>
                <a:gd name="connsiteY3" fmla="*/ 1472407 h 2389667"/>
                <a:gd name="connsiteX4" fmla="*/ 857452 w 1465436"/>
                <a:gd name="connsiteY4" fmla="*/ 894716 h 2389667"/>
                <a:gd name="connsiteX5" fmla="*/ 958195 w 1465436"/>
                <a:gd name="connsiteY5" fmla="*/ 253620 h 2389667"/>
                <a:gd name="connsiteX6" fmla="*/ 1211816 w 1465436"/>
                <a:gd name="connsiteY6" fmla="*/ 0 h 2389667"/>
                <a:gd name="connsiteX7" fmla="*/ 1465436 w 1465436"/>
                <a:gd name="connsiteY7" fmla="*/ 253620 h 2389667"/>
                <a:gd name="connsiteX8" fmla="*/ 1340035 w 1465436"/>
                <a:gd name="connsiteY8" fmla="*/ 1051116 h 2389667"/>
                <a:gd name="connsiteX9" fmla="*/ 972990 w 1465436"/>
                <a:gd name="connsiteY9" fmla="*/ 1770411 h 2389667"/>
                <a:gd name="connsiteX10" fmla="*/ 402344 w 1465436"/>
                <a:gd name="connsiteY10" fmla="*/ 2341057 h 2389667"/>
                <a:gd name="connsiteX11" fmla="*/ 253694 w 1465436"/>
                <a:gd name="connsiteY11" fmla="*/ 2389668 h 2389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5436" h="2389667">
                  <a:moveTo>
                    <a:pt x="253694" y="2389668"/>
                  </a:moveTo>
                  <a:cubicBezTo>
                    <a:pt x="175495" y="2389668"/>
                    <a:pt x="98000" y="2353738"/>
                    <a:pt x="48685" y="2285401"/>
                  </a:cubicBezTo>
                  <a:cubicBezTo>
                    <a:pt x="-33742" y="2171977"/>
                    <a:pt x="-9085" y="2013464"/>
                    <a:pt x="104340" y="1931037"/>
                  </a:cubicBezTo>
                  <a:cubicBezTo>
                    <a:pt x="280465" y="1802818"/>
                    <a:pt x="434751" y="1648532"/>
                    <a:pt x="562970" y="1472407"/>
                  </a:cubicBezTo>
                  <a:cubicBezTo>
                    <a:pt x="691189" y="1295578"/>
                    <a:pt x="790524" y="1101840"/>
                    <a:pt x="857452" y="894716"/>
                  </a:cubicBezTo>
                  <a:cubicBezTo>
                    <a:pt x="924379" y="688298"/>
                    <a:pt x="958195" y="472720"/>
                    <a:pt x="958195" y="253620"/>
                  </a:cubicBezTo>
                  <a:cubicBezTo>
                    <a:pt x="958195" y="113425"/>
                    <a:pt x="1071620" y="0"/>
                    <a:pt x="1211816" y="0"/>
                  </a:cubicBezTo>
                  <a:cubicBezTo>
                    <a:pt x="1352012" y="0"/>
                    <a:pt x="1465436" y="113425"/>
                    <a:pt x="1465436" y="253620"/>
                  </a:cubicBezTo>
                  <a:cubicBezTo>
                    <a:pt x="1465436" y="526262"/>
                    <a:pt x="1423166" y="793973"/>
                    <a:pt x="1340035" y="1051116"/>
                  </a:cubicBezTo>
                  <a:cubicBezTo>
                    <a:pt x="1256199" y="1308963"/>
                    <a:pt x="1132912" y="1550607"/>
                    <a:pt x="972990" y="1770411"/>
                  </a:cubicBezTo>
                  <a:cubicBezTo>
                    <a:pt x="813773" y="1989511"/>
                    <a:pt x="621444" y="2181840"/>
                    <a:pt x="402344" y="2341057"/>
                  </a:cubicBezTo>
                  <a:cubicBezTo>
                    <a:pt x="357960" y="2373464"/>
                    <a:pt x="305828" y="2389668"/>
                    <a:pt x="253694" y="2389668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Graphic 13">
              <a:extLst>
                <a:ext uri="{FF2B5EF4-FFF2-40B4-BE49-F238E27FC236}">
                  <a16:creationId xmlns:a16="http://schemas.microsoft.com/office/drawing/2014/main" id="{538F6C4C-6630-4787-9069-EDC6C91C93DC}"/>
                </a:ext>
              </a:extLst>
            </p:cNvPr>
            <p:cNvSpPr/>
            <p:nvPr/>
          </p:nvSpPr>
          <p:spPr>
            <a:xfrm>
              <a:off x="10961095" y="1292879"/>
              <a:ext cx="1353107" cy="1670445"/>
            </a:xfrm>
            <a:custGeom>
              <a:avLst/>
              <a:gdLst>
                <a:gd name="connsiteX0" fmla="*/ 1099096 w 1353107"/>
                <a:gd name="connsiteY0" fmla="*/ 1670446 h 1670445"/>
                <a:gd name="connsiteX1" fmla="*/ 858156 w 1353107"/>
                <a:gd name="connsiteY1" fmla="*/ 1495025 h 1670445"/>
                <a:gd name="connsiteX2" fmla="*/ 563675 w 1353107"/>
                <a:gd name="connsiteY2" fmla="*/ 917334 h 1670445"/>
                <a:gd name="connsiteX3" fmla="*/ 343870 w 1353107"/>
                <a:gd name="connsiteY3" fmla="*/ 662305 h 1670445"/>
                <a:gd name="connsiteX4" fmla="*/ 104340 w 1353107"/>
                <a:gd name="connsiteY4" fmla="*/ 458704 h 1670445"/>
                <a:gd name="connsiteX5" fmla="*/ 48685 w 1353107"/>
                <a:gd name="connsiteY5" fmla="*/ 104340 h 1670445"/>
                <a:gd name="connsiteX6" fmla="*/ 403049 w 1353107"/>
                <a:gd name="connsiteY6" fmla="*/ 48685 h 1670445"/>
                <a:gd name="connsiteX7" fmla="*/ 701053 w 1353107"/>
                <a:gd name="connsiteY7" fmla="*/ 301600 h 1670445"/>
                <a:gd name="connsiteX8" fmla="*/ 973695 w 1353107"/>
                <a:gd name="connsiteY8" fmla="*/ 619330 h 1670445"/>
                <a:gd name="connsiteX9" fmla="*/ 1340739 w 1353107"/>
                <a:gd name="connsiteY9" fmla="*/ 1338626 h 1670445"/>
                <a:gd name="connsiteX10" fmla="*/ 1178000 w 1353107"/>
                <a:gd name="connsiteY10" fmla="*/ 1658469 h 1670445"/>
                <a:gd name="connsiteX11" fmla="*/ 1099096 w 1353107"/>
                <a:gd name="connsiteY11" fmla="*/ 1670446 h 167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53107" h="1670445">
                  <a:moveTo>
                    <a:pt x="1099096" y="1670446"/>
                  </a:moveTo>
                  <a:cubicBezTo>
                    <a:pt x="992011" y="1670446"/>
                    <a:pt x="892677" y="1602109"/>
                    <a:pt x="858156" y="1495025"/>
                  </a:cubicBezTo>
                  <a:cubicBezTo>
                    <a:pt x="791229" y="1288606"/>
                    <a:pt x="691894" y="1094164"/>
                    <a:pt x="563675" y="917334"/>
                  </a:cubicBezTo>
                  <a:cubicBezTo>
                    <a:pt x="497452" y="826454"/>
                    <a:pt x="424184" y="741209"/>
                    <a:pt x="343870" y="662305"/>
                  </a:cubicBezTo>
                  <a:cubicBezTo>
                    <a:pt x="269193" y="589037"/>
                    <a:pt x="188880" y="519996"/>
                    <a:pt x="104340" y="458704"/>
                  </a:cubicBezTo>
                  <a:cubicBezTo>
                    <a:pt x="-9085" y="376278"/>
                    <a:pt x="-33742" y="217765"/>
                    <a:pt x="48685" y="104340"/>
                  </a:cubicBezTo>
                  <a:cubicBezTo>
                    <a:pt x="131111" y="-9085"/>
                    <a:pt x="289624" y="-33742"/>
                    <a:pt x="403049" y="48685"/>
                  </a:cubicBezTo>
                  <a:cubicBezTo>
                    <a:pt x="508019" y="125475"/>
                    <a:pt x="608058" y="210015"/>
                    <a:pt x="701053" y="301600"/>
                  </a:cubicBezTo>
                  <a:cubicBezTo>
                    <a:pt x="800387" y="399526"/>
                    <a:pt x="891972" y="506610"/>
                    <a:pt x="973695" y="619330"/>
                  </a:cubicBezTo>
                  <a:cubicBezTo>
                    <a:pt x="1133616" y="839135"/>
                    <a:pt x="1256904" y="1081483"/>
                    <a:pt x="1340739" y="1338626"/>
                  </a:cubicBezTo>
                  <a:cubicBezTo>
                    <a:pt x="1383714" y="1471777"/>
                    <a:pt x="1311150" y="1614790"/>
                    <a:pt x="1178000" y="1658469"/>
                  </a:cubicBezTo>
                  <a:cubicBezTo>
                    <a:pt x="1151933" y="1666923"/>
                    <a:pt x="1125162" y="1670446"/>
                    <a:pt x="1099096" y="1670446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Graphic 13">
              <a:extLst>
                <a:ext uri="{FF2B5EF4-FFF2-40B4-BE49-F238E27FC236}">
                  <a16:creationId xmlns:a16="http://schemas.microsoft.com/office/drawing/2014/main" id="{E32FC1E3-4D56-4160-AC8D-EF0D02703255}"/>
                </a:ext>
              </a:extLst>
            </p:cNvPr>
            <p:cNvSpPr/>
            <p:nvPr/>
          </p:nvSpPr>
          <p:spPr>
            <a:xfrm>
              <a:off x="7711231" y="849117"/>
              <a:ext cx="2389741" cy="1466066"/>
            </a:xfrm>
            <a:custGeom>
              <a:avLst/>
              <a:gdLst>
                <a:gd name="connsiteX0" fmla="*/ 253694 w 2389741"/>
                <a:gd name="connsiteY0" fmla="*/ 1466067 h 1466066"/>
                <a:gd name="connsiteX1" fmla="*/ 104340 w 2389741"/>
                <a:gd name="connsiteY1" fmla="*/ 1417456 h 1466066"/>
                <a:gd name="connsiteX2" fmla="*/ 48685 w 2389741"/>
                <a:gd name="connsiteY2" fmla="*/ 1063092 h 1466066"/>
                <a:gd name="connsiteX3" fmla="*/ 619331 w 2389741"/>
                <a:gd name="connsiteY3" fmla="*/ 492446 h 1466066"/>
                <a:gd name="connsiteX4" fmla="*/ 1338626 w 2389741"/>
                <a:gd name="connsiteY4" fmla="*/ 125401 h 1466066"/>
                <a:gd name="connsiteX5" fmla="*/ 2136121 w 2389741"/>
                <a:gd name="connsiteY5" fmla="*/ 0 h 1466066"/>
                <a:gd name="connsiteX6" fmla="*/ 2389742 w 2389741"/>
                <a:gd name="connsiteY6" fmla="*/ 253620 h 1466066"/>
                <a:gd name="connsiteX7" fmla="*/ 2136121 w 2389741"/>
                <a:gd name="connsiteY7" fmla="*/ 507241 h 1466066"/>
                <a:gd name="connsiteX8" fmla="*/ 1495025 w 2389741"/>
                <a:gd name="connsiteY8" fmla="*/ 607984 h 1466066"/>
                <a:gd name="connsiteX9" fmla="*/ 917334 w 2389741"/>
                <a:gd name="connsiteY9" fmla="*/ 902466 h 1466066"/>
                <a:gd name="connsiteX10" fmla="*/ 458704 w 2389741"/>
                <a:gd name="connsiteY10" fmla="*/ 1361096 h 1466066"/>
                <a:gd name="connsiteX11" fmla="*/ 253694 w 2389741"/>
                <a:gd name="connsiteY11" fmla="*/ 1466067 h 1466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9741" h="1466066">
                  <a:moveTo>
                    <a:pt x="253694" y="1466067"/>
                  </a:moveTo>
                  <a:cubicBezTo>
                    <a:pt x="202266" y="1466067"/>
                    <a:pt x="149428" y="1450568"/>
                    <a:pt x="104340" y="1417456"/>
                  </a:cubicBezTo>
                  <a:cubicBezTo>
                    <a:pt x="-9085" y="1335029"/>
                    <a:pt x="-33742" y="1176517"/>
                    <a:pt x="48685" y="1063092"/>
                  </a:cubicBezTo>
                  <a:cubicBezTo>
                    <a:pt x="207902" y="843992"/>
                    <a:pt x="400231" y="651663"/>
                    <a:pt x="619331" y="492446"/>
                  </a:cubicBezTo>
                  <a:cubicBezTo>
                    <a:pt x="839135" y="332524"/>
                    <a:pt x="1081483" y="209237"/>
                    <a:pt x="1338626" y="125401"/>
                  </a:cubicBezTo>
                  <a:cubicBezTo>
                    <a:pt x="1595769" y="42270"/>
                    <a:pt x="1863480" y="0"/>
                    <a:pt x="2136121" y="0"/>
                  </a:cubicBezTo>
                  <a:cubicBezTo>
                    <a:pt x="2276317" y="0"/>
                    <a:pt x="2389742" y="113425"/>
                    <a:pt x="2389742" y="253620"/>
                  </a:cubicBezTo>
                  <a:cubicBezTo>
                    <a:pt x="2389742" y="393816"/>
                    <a:pt x="2276317" y="507241"/>
                    <a:pt x="2136121" y="507241"/>
                  </a:cubicBezTo>
                  <a:cubicBezTo>
                    <a:pt x="1917021" y="507241"/>
                    <a:pt x="1701444" y="541057"/>
                    <a:pt x="1495025" y="607984"/>
                  </a:cubicBezTo>
                  <a:cubicBezTo>
                    <a:pt x="1288607" y="674912"/>
                    <a:pt x="1094164" y="774247"/>
                    <a:pt x="917334" y="902466"/>
                  </a:cubicBezTo>
                  <a:cubicBezTo>
                    <a:pt x="741209" y="1030685"/>
                    <a:pt x="586923" y="1184971"/>
                    <a:pt x="458704" y="1361096"/>
                  </a:cubicBezTo>
                  <a:cubicBezTo>
                    <a:pt x="409389" y="1429433"/>
                    <a:pt x="331894" y="1466067"/>
                    <a:pt x="253694" y="1466067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Graphic 13">
              <a:extLst>
                <a:ext uri="{FF2B5EF4-FFF2-40B4-BE49-F238E27FC236}">
                  <a16:creationId xmlns:a16="http://schemas.microsoft.com/office/drawing/2014/main" id="{3BF922A7-5048-429C-AB5D-6A6F4A10DAF3}"/>
                </a:ext>
              </a:extLst>
            </p:cNvPr>
            <p:cNvSpPr/>
            <p:nvPr/>
          </p:nvSpPr>
          <p:spPr>
            <a:xfrm>
              <a:off x="6409770" y="4209900"/>
              <a:ext cx="1724309" cy="2180117"/>
            </a:xfrm>
            <a:custGeom>
              <a:avLst/>
              <a:gdLst>
                <a:gd name="connsiteX0" fmla="*/ 1469911 w 1724309"/>
                <a:gd name="connsiteY0" fmla="*/ 2180117 h 2180117"/>
                <a:gd name="connsiteX1" fmla="*/ 1320557 w 1724309"/>
                <a:gd name="connsiteY1" fmla="*/ 2131507 h 2180117"/>
                <a:gd name="connsiteX2" fmla="*/ 524470 w 1724309"/>
                <a:gd name="connsiteY2" fmla="*/ 1335421 h 2180117"/>
                <a:gd name="connsiteX3" fmla="*/ 12298 w 1724309"/>
                <a:gd name="connsiteY3" fmla="*/ 331507 h 2180117"/>
                <a:gd name="connsiteX4" fmla="*/ 175742 w 1724309"/>
                <a:gd name="connsiteY4" fmla="*/ 12367 h 2180117"/>
                <a:gd name="connsiteX5" fmla="*/ 495586 w 1724309"/>
                <a:gd name="connsiteY5" fmla="*/ 175107 h 2180117"/>
                <a:gd name="connsiteX6" fmla="*/ 935194 w 1724309"/>
                <a:gd name="connsiteY6" fmla="*/ 1036712 h 2180117"/>
                <a:gd name="connsiteX7" fmla="*/ 1619970 w 1724309"/>
                <a:gd name="connsiteY7" fmla="*/ 1721487 h 2180117"/>
                <a:gd name="connsiteX8" fmla="*/ 1675625 w 1724309"/>
                <a:gd name="connsiteY8" fmla="*/ 2075851 h 2180117"/>
                <a:gd name="connsiteX9" fmla="*/ 1469911 w 1724309"/>
                <a:gd name="connsiteY9" fmla="*/ 2180117 h 218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24309" h="2180117">
                  <a:moveTo>
                    <a:pt x="1469911" y="2180117"/>
                  </a:moveTo>
                  <a:cubicBezTo>
                    <a:pt x="1418482" y="2180117"/>
                    <a:pt x="1365645" y="2164618"/>
                    <a:pt x="1320557" y="2131507"/>
                  </a:cubicBezTo>
                  <a:cubicBezTo>
                    <a:pt x="1014803" y="1908884"/>
                    <a:pt x="747093" y="1641174"/>
                    <a:pt x="524470" y="1335421"/>
                  </a:cubicBezTo>
                  <a:cubicBezTo>
                    <a:pt x="301143" y="1028963"/>
                    <a:pt x="129245" y="690802"/>
                    <a:pt x="12298" y="331507"/>
                  </a:cubicBezTo>
                  <a:cubicBezTo>
                    <a:pt x="-30677" y="198356"/>
                    <a:pt x="42592" y="55342"/>
                    <a:pt x="175742" y="12367"/>
                  </a:cubicBezTo>
                  <a:cubicBezTo>
                    <a:pt x="308893" y="-30607"/>
                    <a:pt x="451907" y="41957"/>
                    <a:pt x="495586" y="175107"/>
                  </a:cubicBezTo>
                  <a:cubicBezTo>
                    <a:pt x="595625" y="483679"/>
                    <a:pt x="743570" y="773229"/>
                    <a:pt x="935194" y="1036712"/>
                  </a:cubicBezTo>
                  <a:cubicBezTo>
                    <a:pt x="1126819" y="1299491"/>
                    <a:pt x="1357191" y="1529863"/>
                    <a:pt x="1619970" y="1721487"/>
                  </a:cubicBezTo>
                  <a:cubicBezTo>
                    <a:pt x="1733394" y="1803914"/>
                    <a:pt x="1758052" y="1962427"/>
                    <a:pt x="1675625" y="2075851"/>
                  </a:cubicBezTo>
                  <a:cubicBezTo>
                    <a:pt x="1625606" y="2144188"/>
                    <a:pt x="1548815" y="2180117"/>
                    <a:pt x="1469911" y="2180117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Graphic 13">
              <a:extLst>
                <a:ext uri="{FF2B5EF4-FFF2-40B4-BE49-F238E27FC236}">
                  <a16:creationId xmlns:a16="http://schemas.microsoft.com/office/drawing/2014/main" id="{7060E83F-D5AC-4ED4-9D2A-F1097ACC3A8B}"/>
                </a:ext>
              </a:extLst>
            </p:cNvPr>
            <p:cNvSpPr/>
            <p:nvPr/>
          </p:nvSpPr>
          <p:spPr>
            <a:xfrm>
              <a:off x="8559570" y="6358361"/>
              <a:ext cx="1542106" cy="670638"/>
            </a:xfrm>
            <a:custGeom>
              <a:avLst/>
              <a:gdLst>
                <a:gd name="connsiteX0" fmla="*/ 1287782 w 1542106"/>
                <a:gd name="connsiteY0" fmla="*/ 670639 h 670638"/>
                <a:gd name="connsiteX1" fmla="*/ 175375 w 1542106"/>
                <a:gd name="connsiteY1" fmla="*/ 495218 h 670638"/>
                <a:gd name="connsiteX2" fmla="*/ 12635 w 1542106"/>
                <a:gd name="connsiteY2" fmla="*/ 175375 h 670638"/>
                <a:gd name="connsiteX3" fmla="*/ 332478 w 1542106"/>
                <a:gd name="connsiteY3" fmla="*/ 12635 h 670638"/>
                <a:gd name="connsiteX4" fmla="*/ 1288487 w 1542106"/>
                <a:gd name="connsiteY4" fmla="*/ 163398 h 670638"/>
                <a:gd name="connsiteX5" fmla="*/ 1542107 w 1542106"/>
                <a:gd name="connsiteY5" fmla="*/ 417019 h 670638"/>
                <a:gd name="connsiteX6" fmla="*/ 1287782 w 1542106"/>
                <a:gd name="connsiteY6" fmla="*/ 670639 h 67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2106" h="670638">
                  <a:moveTo>
                    <a:pt x="1287782" y="670639"/>
                  </a:moveTo>
                  <a:cubicBezTo>
                    <a:pt x="908056" y="670639"/>
                    <a:pt x="533261" y="611461"/>
                    <a:pt x="175375" y="495218"/>
                  </a:cubicBezTo>
                  <a:cubicBezTo>
                    <a:pt x="42224" y="452244"/>
                    <a:pt x="-31044" y="309230"/>
                    <a:pt x="12635" y="175375"/>
                  </a:cubicBezTo>
                  <a:cubicBezTo>
                    <a:pt x="55610" y="42224"/>
                    <a:pt x="198623" y="-31044"/>
                    <a:pt x="332478" y="12635"/>
                  </a:cubicBezTo>
                  <a:cubicBezTo>
                    <a:pt x="640346" y="112674"/>
                    <a:pt x="961598" y="163398"/>
                    <a:pt x="1288487" y="163398"/>
                  </a:cubicBezTo>
                  <a:cubicBezTo>
                    <a:pt x="1428682" y="163398"/>
                    <a:pt x="1542107" y="276823"/>
                    <a:pt x="1542107" y="417019"/>
                  </a:cubicBezTo>
                  <a:cubicBezTo>
                    <a:pt x="1542107" y="557215"/>
                    <a:pt x="1427978" y="670639"/>
                    <a:pt x="1287782" y="670639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Graphic 13">
              <a:extLst>
                <a:ext uri="{FF2B5EF4-FFF2-40B4-BE49-F238E27FC236}">
                  <a16:creationId xmlns:a16="http://schemas.microsoft.com/office/drawing/2014/main" id="{16A357EF-1C6E-4BB4-B0BB-D0A3F6A778BC}"/>
                </a:ext>
              </a:extLst>
            </p:cNvPr>
            <p:cNvSpPr/>
            <p:nvPr/>
          </p:nvSpPr>
          <p:spPr>
            <a:xfrm>
              <a:off x="11560625" y="467908"/>
              <a:ext cx="1886728" cy="5181678"/>
            </a:xfrm>
            <a:custGeom>
              <a:avLst/>
              <a:gdLst>
                <a:gd name="connsiteX0" fmla="*/ 994125 w 1886728"/>
                <a:gd name="connsiteY0" fmla="*/ 5181679 h 5181678"/>
                <a:gd name="connsiteX1" fmla="*/ 844771 w 1886728"/>
                <a:gd name="connsiteY1" fmla="*/ 5133068 h 5181678"/>
                <a:gd name="connsiteX2" fmla="*/ 789115 w 1886728"/>
                <a:gd name="connsiteY2" fmla="*/ 4778704 h 5181678"/>
                <a:gd name="connsiteX3" fmla="*/ 1228724 w 1886728"/>
                <a:gd name="connsiteY3" fmla="*/ 3917100 h 5181678"/>
                <a:gd name="connsiteX4" fmla="*/ 1379487 w 1886728"/>
                <a:gd name="connsiteY4" fmla="*/ 2961092 h 5181678"/>
                <a:gd name="connsiteX5" fmla="*/ 1228724 w 1886728"/>
                <a:gd name="connsiteY5" fmla="*/ 2005084 h 5181678"/>
                <a:gd name="connsiteX6" fmla="*/ 789115 w 1886728"/>
                <a:gd name="connsiteY6" fmla="*/ 1143479 h 5181678"/>
                <a:gd name="connsiteX7" fmla="*/ 104340 w 1886728"/>
                <a:gd name="connsiteY7" fmla="*/ 458704 h 5181678"/>
                <a:gd name="connsiteX8" fmla="*/ 48685 w 1886728"/>
                <a:gd name="connsiteY8" fmla="*/ 104340 h 5181678"/>
                <a:gd name="connsiteX9" fmla="*/ 403049 w 1886728"/>
                <a:gd name="connsiteY9" fmla="*/ 48685 h 5181678"/>
                <a:gd name="connsiteX10" fmla="*/ 1199135 w 1886728"/>
                <a:gd name="connsiteY10" fmla="*/ 844771 h 5181678"/>
                <a:gd name="connsiteX11" fmla="*/ 1711307 w 1886728"/>
                <a:gd name="connsiteY11" fmla="*/ 1848685 h 5181678"/>
                <a:gd name="connsiteX12" fmla="*/ 1886728 w 1886728"/>
                <a:gd name="connsiteY12" fmla="*/ 2961092 h 5181678"/>
                <a:gd name="connsiteX13" fmla="*/ 1711307 w 1886728"/>
                <a:gd name="connsiteY13" fmla="*/ 4073499 h 5181678"/>
                <a:gd name="connsiteX14" fmla="*/ 1199135 w 1886728"/>
                <a:gd name="connsiteY14" fmla="*/ 5077413 h 5181678"/>
                <a:gd name="connsiteX15" fmla="*/ 994125 w 1886728"/>
                <a:gd name="connsiteY15" fmla="*/ 5181679 h 5181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6728" h="5181678">
                  <a:moveTo>
                    <a:pt x="994125" y="5181679"/>
                  </a:moveTo>
                  <a:cubicBezTo>
                    <a:pt x="942697" y="5181679"/>
                    <a:pt x="889859" y="5166180"/>
                    <a:pt x="844771" y="5133068"/>
                  </a:cubicBezTo>
                  <a:cubicBezTo>
                    <a:pt x="731346" y="5050642"/>
                    <a:pt x="706689" y="4892129"/>
                    <a:pt x="789115" y="4778704"/>
                  </a:cubicBezTo>
                  <a:cubicBezTo>
                    <a:pt x="980740" y="4515221"/>
                    <a:pt x="1128685" y="4225671"/>
                    <a:pt x="1228724" y="3917100"/>
                  </a:cubicBezTo>
                  <a:cubicBezTo>
                    <a:pt x="1328763" y="3609233"/>
                    <a:pt x="1379487" y="3287980"/>
                    <a:pt x="1379487" y="2961092"/>
                  </a:cubicBezTo>
                  <a:cubicBezTo>
                    <a:pt x="1379487" y="2634203"/>
                    <a:pt x="1328763" y="2312951"/>
                    <a:pt x="1228724" y="2005084"/>
                  </a:cubicBezTo>
                  <a:cubicBezTo>
                    <a:pt x="1128685" y="1696512"/>
                    <a:pt x="980740" y="1406962"/>
                    <a:pt x="789115" y="1143479"/>
                  </a:cubicBezTo>
                  <a:cubicBezTo>
                    <a:pt x="597491" y="880700"/>
                    <a:pt x="367119" y="650328"/>
                    <a:pt x="104340" y="458704"/>
                  </a:cubicBezTo>
                  <a:cubicBezTo>
                    <a:pt x="-9085" y="376278"/>
                    <a:pt x="-33742" y="217765"/>
                    <a:pt x="48685" y="104340"/>
                  </a:cubicBezTo>
                  <a:cubicBezTo>
                    <a:pt x="131111" y="-9085"/>
                    <a:pt x="289624" y="-33742"/>
                    <a:pt x="403049" y="48685"/>
                  </a:cubicBezTo>
                  <a:cubicBezTo>
                    <a:pt x="708802" y="271307"/>
                    <a:pt x="976513" y="539017"/>
                    <a:pt x="1199135" y="844771"/>
                  </a:cubicBezTo>
                  <a:cubicBezTo>
                    <a:pt x="1422462" y="1151229"/>
                    <a:pt x="1594360" y="1489389"/>
                    <a:pt x="1711307" y="1848685"/>
                  </a:cubicBezTo>
                  <a:cubicBezTo>
                    <a:pt x="1827550" y="2207276"/>
                    <a:pt x="1886728" y="2581366"/>
                    <a:pt x="1886728" y="2961092"/>
                  </a:cubicBezTo>
                  <a:cubicBezTo>
                    <a:pt x="1886728" y="3340818"/>
                    <a:pt x="1827550" y="3715612"/>
                    <a:pt x="1711307" y="4073499"/>
                  </a:cubicBezTo>
                  <a:cubicBezTo>
                    <a:pt x="1594360" y="4432795"/>
                    <a:pt x="1422462" y="4770250"/>
                    <a:pt x="1199135" y="5077413"/>
                  </a:cubicBezTo>
                  <a:cubicBezTo>
                    <a:pt x="1149820" y="5145749"/>
                    <a:pt x="1072325" y="5181679"/>
                    <a:pt x="994125" y="5181679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Graphic 13">
              <a:extLst>
                <a:ext uri="{FF2B5EF4-FFF2-40B4-BE49-F238E27FC236}">
                  <a16:creationId xmlns:a16="http://schemas.microsoft.com/office/drawing/2014/main" id="{E14BAF4F-65AE-40BE-A637-3214A65011A6}"/>
                </a:ext>
              </a:extLst>
            </p:cNvPr>
            <p:cNvSpPr/>
            <p:nvPr/>
          </p:nvSpPr>
          <p:spPr>
            <a:xfrm>
              <a:off x="9593732" y="-171000"/>
              <a:ext cx="1541402" cy="669980"/>
            </a:xfrm>
            <a:custGeom>
              <a:avLst/>
              <a:gdLst>
                <a:gd name="connsiteX0" fmla="*/ 1287828 w 1541402"/>
                <a:gd name="connsiteY0" fmla="*/ 669980 h 669980"/>
                <a:gd name="connsiteX1" fmla="*/ 1209628 w 1541402"/>
                <a:gd name="connsiteY1" fmla="*/ 657299 h 669980"/>
                <a:gd name="connsiteX2" fmla="*/ 253620 w 1541402"/>
                <a:gd name="connsiteY2" fmla="*/ 507241 h 669980"/>
                <a:gd name="connsiteX3" fmla="*/ 0 w 1541402"/>
                <a:gd name="connsiteY3" fmla="*/ 253620 h 669980"/>
                <a:gd name="connsiteX4" fmla="*/ 253620 w 1541402"/>
                <a:gd name="connsiteY4" fmla="*/ 0 h 669980"/>
                <a:gd name="connsiteX5" fmla="*/ 1366028 w 1541402"/>
                <a:gd name="connsiteY5" fmla="*/ 175421 h 669980"/>
                <a:gd name="connsiteX6" fmla="*/ 1528768 w 1541402"/>
                <a:gd name="connsiteY6" fmla="*/ 495264 h 669980"/>
                <a:gd name="connsiteX7" fmla="*/ 1287828 w 1541402"/>
                <a:gd name="connsiteY7" fmla="*/ 669980 h 669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1402" h="669980">
                  <a:moveTo>
                    <a:pt x="1287828" y="669980"/>
                  </a:moveTo>
                  <a:cubicBezTo>
                    <a:pt x="1261762" y="669980"/>
                    <a:pt x="1235695" y="665753"/>
                    <a:pt x="1209628" y="657299"/>
                  </a:cubicBezTo>
                  <a:cubicBezTo>
                    <a:pt x="901762" y="557965"/>
                    <a:pt x="580509" y="507241"/>
                    <a:pt x="253620" y="507241"/>
                  </a:cubicBezTo>
                  <a:cubicBezTo>
                    <a:pt x="113425" y="507241"/>
                    <a:pt x="0" y="393816"/>
                    <a:pt x="0" y="253620"/>
                  </a:cubicBezTo>
                  <a:cubicBezTo>
                    <a:pt x="0" y="113425"/>
                    <a:pt x="113425" y="0"/>
                    <a:pt x="253620" y="0"/>
                  </a:cubicBezTo>
                  <a:cubicBezTo>
                    <a:pt x="633346" y="0"/>
                    <a:pt x="1008141" y="59178"/>
                    <a:pt x="1366028" y="175421"/>
                  </a:cubicBezTo>
                  <a:cubicBezTo>
                    <a:pt x="1499179" y="218395"/>
                    <a:pt x="1572446" y="361409"/>
                    <a:pt x="1528768" y="495264"/>
                  </a:cubicBezTo>
                  <a:cubicBezTo>
                    <a:pt x="1494247" y="602348"/>
                    <a:pt x="1394912" y="669980"/>
                    <a:pt x="1287828" y="66998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Graphic 13">
              <a:extLst>
                <a:ext uri="{FF2B5EF4-FFF2-40B4-BE49-F238E27FC236}">
                  <a16:creationId xmlns:a16="http://schemas.microsoft.com/office/drawing/2014/main" id="{61FFA252-2C61-4237-B19D-1CA4DA0DE386}"/>
                </a:ext>
              </a:extLst>
            </p:cNvPr>
            <p:cNvSpPr/>
            <p:nvPr/>
          </p:nvSpPr>
          <p:spPr>
            <a:xfrm>
              <a:off x="6410137" y="467908"/>
              <a:ext cx="1723942" cy="2180504"/>
            </a:xfrm>
            <a:custGeom>
              <a:avLst/>
              <a:gdLst>
                <a:gd name="connsiteX0" fmla="*/ 253574 w 1723942"/>
                <a:gd name="connsiteY0" fmla="*/ 2180505 h 2180504"/>
                <a:gd name="connsiteX1" fmla="*/ 175375 w 1723942"/>
                <a:gd name="connsiteY1" fmla="*/ 2167824 h 2180504"/>
                <a:gd name="connsiteX2" fmla="*/ 12635 w 1723942"/>
                <a:gd name="connsiteY2" fmla="*/ 1848685 h 2180504"/>
                <a:gd name="connsiteX3" fmla="*/ 524807 w 1723942"/>
                <a:gd name="connsiteY3" fmla="*/ 844771 h 2180504"/>
                <a:gd name="connsiteX4" fmla="*/ 1320894 w 1723942"/>
                <a:gd name="connsiteY4" fmla="*/ 48685 h 2180504"/>
                <a:gd name="connsiteX5" fmla="*/ 1675258 w 1723942"/>
                <a:gd name="connsiteY5" fmla="*/ 104340 h 2180504"/>
                <a:gd name="connsiteX6" fmla="*/ 1619602 w 1723942"/>
                <a:gd name="connsiteY6" fmla="*/ 458704 h 2180504"/>
                <a:gd name="connsiteX7" fmla="*/ 934827 w 1723942"/>
                <a:gd name="connsiteY7" fmla="*/ 1143479 h 2180504"/>
                <a:gd name="connsiteX8" fmla="*/ 495218 w 1723942"/>
                <a:gd name="connsiteY8" fmla="*/ 2005084 h 2180504"/>
                <a:gd name="connsiteX9" fmla="*/ 253574 w 1723942"/>
                <a:gd name="connsiteY9" fmla="*/ 2180505 h 218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23942" h="2180504">
                  <a:moveTo>
                    <a:pt x="253574" y="2180505"/>
                  </a:moveTo>
                  <a:cubicBezTo>
                    <a:pt x="227508" y="2180505"/>
                    <a:pt x="201441" y="2176278"/>
                    <a:pt x="175375" y="2167824"/>
                  </a:cubicBezTo>
                  <a:cubicBezTo>
                    <a:pt x="42224" y="2124849"/>
                    <a:pt x="-31044" y="1981835"/>
                    <a:pt x="12635" y="1848685"/>
                  </a:cubicBezTo>
                  <a:cubicBezTo>
                    <a:pt x="129582" y="1489389"/>
                    <a:pt x="301481" y="1151933"/>
                    <a:pt x="524807" y="844771"/>
                  </a:cubicBezTo>
                  <a:cubicBezTo>
                    <a:pt x="747430" y="539017"/>
                    <a:pt x="1015140" y="271307"/>
                    <a:pt x="1320894" y="48685"/>
                  </a:cubicBezTo>
                  <a:cubicBezTo>
                    <a:pt x="1434318" y="-33742"/>
                    <a:pt x="1592831" y="-9085"/>
                    <a:pt x="1675258" y="104340"/>
                  </a:cubicBezTo>
                  <a:cubicBezTo>
                    <a:pt x="1757684" y="217765"/>
                    <a:pt x="1733027" y="376278"/>
                    <a:pt x="1619602" y="458704"/>
                  </a:cubicBezTo>
                  <a:cubicBezTo>
                    <a:pt x="1356823" y="650328"/>
                    <a:pt x="1126451" y="880700"/>
                    <a:pt x="934827" y="1143479"/>
                  </a:cubicBezTo>
                  <a:cubicBezTo>
                    <a:pt x="743203" y="1406962"/>
                    <a:pt x="595257" y="1696512"/>
                    <a:pt x="495218" y="2005084"/>
                  </a:cubicBezTo>
                  <a:cubicBezTo>
                    <a:pt x="459993" y="2112168"/>
                    <a:pt x="360659" y="2180505"/>
                    <a:pt x="253574" y="21805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Graphic 13">
              <a:extLst>
                <a:ext uri="{FF2B5EF4-FFF2-40B4-BE49-F238E27FC236}">
                  <a16:creationId xmlns:a16="http://schemas.microsoft.com/office/drawing/2014/main" id="{0F64ADFF-3C58-4F0B-B201-C3775D79F501}"/>
                </a:ext>
              </a:extLst>
            </p:cNvPr>
            <p:cNvSpPr/>
            <p:nvPr/>
          </p:nvSpPr>
          <p:spPr>
            <a:xfrm>
              <a:off x="10317959" y="963246"/>
              <a:ext cx="507240" cy="507240"/>
            </a:xfrm>
            <a:custGeom>
              <a:avLst/>
              <a:gdLst>
                <a:gd name="connsiteX0" fmla="*/ 507241 w 507240"/>
                <a:gd name="connsiteY0" fmla="*/ 253620 h 507240"/>
                <a:gd name="connsiteX1" fmla="*/ 253620 w 507240"/>
                <a:gd name="connsiteY1" fmla="*/ 507241 h 507240"/>
                <a:gd name="connsiteX2" fmla="*/ 0 w 507240"/>
                <a:gd name="connsiteY2" fmla="*/ 253620 h 507240"/>
                <a:gd name="connsiteX3" fmla="*/ 253620 w 507240"/>
                <a:gd name="connsiteY3" fmla="*/ 0 h 507240"/>
                <a:gd name="connsiteX4" fmla="*/ 507241 w 507240"/>
                <a:gd name="connsiteY4" fmla="*/ 253620 h 50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7240" h="507240">
                  <a:moveTo>
                    <a:pt x="507241" y="253620"/>
                  </a:moveTo>
                  <a:cubicBezTo>
                    <a:pt x="507241" y="393691"/>
                    <a:pt x="393691" y="507241"/>
                    <a:pt x="253620" y="507241"/>
                  </a:cubicBezTo>
                  <a:cubicBezTo>
                    <a:pt x="113550" y="507241"/>
                    <a:pt x="0" y="393691"/>
                    <a:pt x="0" y="253620"/>
                  </a:cubicBezTo>
                  <a:cubicBezTo>
                    <a:pt x="0" y="113550"/>
                    <a:pt x="113550" y="0"/>
                    <a:pt x="253620" y="0"/>
                  </a:cubicBezTo>
                  <a:cubicBezTo>
                    <a:pt x="393691" y="0"/>
                    <a:pt x="507241" y="113550"/>
                    <a:pt x="507241" y="25362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Graphic 13">
              <a:extLst>
                <a:ext uri="{FF2B5EF4-FFF2-40B4-BE49-F238E27FC236}">
                  <a16:creationId xmlns:a16="http://schemas.microsoft.com/office/drawing/2014/main" id="{9B0232AA-5FFF-4B77-A312-7E75244B2BCA}"/>
                </a:ext>
              </a:extLst>
            </p:cNvPr>
            <p:cNvSpPr/>
            <p:nvPr/>
          </p:nvSpPr>
          <p:spPr>
            <a:xfrm>
              <a:off x="7718350" y="4542111"/>
              <a:ext cx="507240" cy="507240"/>
            </a:xfrm>
            <a:custGeom>
              <a:avLst/>
              <a:gdLst>
                <a:gd name="connsiteX0" fmla="*/ 507241 w 507240"/>
                <a:gd name="connsiteY0" fmla="*/ 253620 h 507240"/>
                <a:gd name="connsiteX1" fmla="*/ 253620 w 507240"/>
                <a:gd name="connsiteY1" fmla="*/ 507241 h 507240"/>
                <a:gd name="connsiteX2" fmla="*/ 0 w 507240"/>
                <a:gd name="connsiteY2" fmla="*/ 253620 h 507240"/>
                <a:gd name="connsiteX3" fmla="*/ 253620 w 507240"/>
                <a:gd name="connsiteY3" fmla="*/ 0 h 507240"/>
                <a:gd name="connsiteX4" fmla="*/ 507241 w 507240"/>
                <a:gd name="connsiteY4" fmla="*/ 253620 h 50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7240" h="507240">
                  <a:moveTo>
                    <a:pt x="507241" y="253620"/>
                  </a:moveTo>
                  <a:cubicBezTo>
                    <a:pt x="507241" y="393691"/>
                    <a:pt x="393691" y="507241"/>
                    <a:pt x="253620" y="507241"/>
                  </a:cubicBezTo>
                  <a:cubicBezTo>
                    <a:pt x="113550" y="507241"/>
                    <a:pt x="0" y="393691"/>
                    <a:pt x="0" y="253620"/>
                  </a:cubicBezTo>
                  <a:cubicBezTo>
                    <a:pt x="0" y="113550"/>
                    <a:pt x="113550" y="0"/>
                    <a:pt x="253620" y="0"/>
                  </a:cubicBezTo>
                  <a:cubicBezTo>
                    <a:pt x="393691" y="0"/>
                    <a:pt x="507241" y="113550"/>
                    <a:pt x="507241" y="25362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Graphic 13">
              <a:extLst>
                <a:ext uri="{FF2B5EF4-FFF2-40B4-BE49-F238E27FC236}">
                  <a16:creationId xmlns:a16="http://schemas.microsoft.com/office/drawing/2014/main" id="{E4C48205-204A-4146-8B85-4230C6916CB1}"/>
                </a:ext>
              </a:extLst>
            </p:cNvPr>
            <p:cNvSpPr/>
            <p:nvPr/>
          </p:nvSpPr>
          <p:spPr>
            <a:xfrm>
              <a:off x="7377372" y="2457493"/>
              <a:ext cx="507240" cy="507240"/>
            </a:xfrm>
            <a:custGeom>
              <a:avLst/>
              <a:gdLst>
                <a:gd name="connsiteX0" fmla="*/ 507241 w 507240"/>
                <a:gd name="connsiteY0" fmla="*/ 253620 h 507240"/>
                <a:gd name="connsiteX1" fmla="*/ 253620 w 507240"/>
                <a:gd name="connsiteY1" fmla="*/ 507241 h 507240"/>
                <a:gd name="connsiteX2" fmla="*/ 0 w 507240"/>
                <a:gd name="connsiteY2" fmla="*/ 253620 h 507240"/>
                <a:gd name="connsiteX3" fmla="*/ 253620 w 507240"/>
                <a:gd name="connsiteY3" fmla="*/ 0 h 507240"/>
                <a:gd name="connsiteX4" fmla="*/ 507241 w 507240"/>
                <a:gd name="connsiteY4" fmla="*/ 253620 h 50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7240" h="507240">
                  <a:moveTo>
                    <a:pt x="507241" y="253620"/>
                  </a:moveTo>
                  <a:cubicBezTo>
                    <a:pt x="507241" y="393691"/>
                    <a:pt x="393691" y="507241"/>
                    <a:pt x="253620" y="507241"/>
                  </a:cubicBezTo>
                  <a:cubicBezTo>
                    <a:pt x="113550" y="507241"/>
                    <a:pt x="0" y="393691"/>
                    <a:pt x="0" y="253620"/>
                  </a:cubicBezTo>
                  <a:cubicBezTo>
                    <a:pt x="0" y="113550"/>
                    <a:pt x="113550" y="0"/>
                    <a:pt x="253620" y="0"/>
                  </a:cubicBezTo>
                  <a:cubicBezTo>
                    <a:pt x="393691" y="0"/>
                    <a:pt x="507241" y="113550"/>
                    <a:pt x="507241" y="25362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Graphic 13">
              <a:extLst>
                <a:ext uri="{FF2B5EF4-FFF2-40B4-BE49-F238E27FC236}">
                  <a16:creationId xmlns:a16="http://schemas.microsoft.com/office/drawing/2014/main" id="{622F51A6-9BD5-47D4-9BEA-182FC421F9E3}"/>
                </a:ext>
              </a:extLst>
            </p:cNvPr>
            <p:cNvSpPr/>
            <p:nvPr/>
          </p:nvSpPr>
          <p:spPr>
            <a:xfrm>
              <a:off x="8563047" y="-8964"/>
              <a:ext cx="507240" cy="507240"/>
            </a:xfrm>
            <a:custGeom>
              <a:avLst/>
              <a:gdLst>
                <a:gd name="connsiteX0" fmla="*/ 507241 w 507240"/>
                <a:gd name="connsiteY0" fmla="*/ 253620 h 507240"/>
                <a:gd name="connsiteX1" fmla="*/ 253620 w 507240"/>
                <a:gd name="connsiteY1" fmla="*/ 507241 h 507240"/>
                <a:gd name="connsiteX2" fmla="*/ 0 w 507240"/>
                <a:gd name="connsiteY2" fmla="*/ 253620 h 507240"/>
                <a:gd name="connsiteX3" fmla="*/ 253620 w 507240"/>
                <a:gd name="connsiteY3" fmla="*/ 0 h 507240"/>
                <a:gd name="connsiteX4" fmla="*/ 507241 w 507240"/>
                <a:gd name="connsiteY4" fmla="*/ 253620 h 50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7240" h="507240">
                  <a:moveTo>
                    <a:pt x="507241" y="253620"/>
                  </a:moveTo>
                  <a:cubicBezTo>
                    <a:pt x="507241" y="393691"/>
                    <a:pt x="393691" y="507241"/>
                    <a:pt x="253620" y="507241"/>
                  </a:cubicBezTo>
                  <a:cubicBezTo>
                    <a:pt x="113550" y="507241"/>
                    <a:pt x="0" y="393691"/>
                    <a:pt x="0" y="253620"/>
                  </a:cubicBezTo>
                  <a:cubicBezTo>
                    <a:pt x="0" y="113550"/>
                    <a:pt x="113550" y="0"/>
                    <a:pt x="253620" y="0"/>
                  </a:cubicBezTo>
                  <a:cubicBezTo>
                    <a:pt x="393691" y="0"/>
                    <a:pt x="507241" y="113550"/>
                    <a:pt x="507241" y="25362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7" name="Graphic 13">
            <a:extLst>
              <a:ext uri="{FF2B5EF4-FFF2-40B4-BE49-F238E27FC236}">
                <a16:creationId xmlns:a16="http://schemas.microsoft.com/office/drawing/2014/main" id="{7B385B07-7135-4436-8D3B-1216EACDC5C4}"/>
              </a:ext>
            </a:extLst>
          </p:cNvPr>
          <p:cNvSpPr/>
          <p:nvPr userDrawn="1"/>
        </p:nvSpPr>
        <p:spPr>
          <a:xfrm>
            <a:off x="8285473" y="2247360"/>
            <a:ext cx="3123757" cy="3123757"/>
          </a:xfrm>
          <a:custGeom>
            <a:avLst/>
            <a:gdLst>
              <a:gd name="connsiteX0" fmla="*/ 3123758 w 3123757"/>
              <a:gd name="connsiteY0" fmla="*/ 1561879 h 3123757"/>
              <a:gd name="connsiteX1" fmla="*/ 1561879 w 3123757"/>
              <a:gd name="connsiteY1" fmla="*/ 3123758 h 3123757"/>
              <a:gd name="connsiteX2" fmla="*/ 0 w 3123757"/>
              <a:gd name="connsiteY2" fmla="*/ 1561879 h 3123757"/>
              <a:gd name="connsiteX3" fmla="*/ 1561879 w 3123757"/>
              <a:gd name="connsiteY3" fmla="*/ 0 h 3123757"/>
              <a:gd name="connsiteX4" fmla="*/ 3123758 w 3123757"/>
              <a:gd name="connsiteY4" fmla="*/ 1561879 h 312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3757" h="3123757">
                <a:moveTo>
                  <a:pt x="3123758" y="1561879"/>
                </a:moveTo>
                <a:cubicBezTo>
                  <a:pt x="3123758" y="2424481"/>
                  <a:pt x="2424481" y="3123758"/>
                  <a:pt x="1561879" y="3123758"/>
                </a:cubicBezTo>
                <a:cubicBezTo>
                  <a:pt x="699277" y="3123758"/>
                  <a:pt x="0" y="2424481"/>
                  <a:pt x="0" y="1561879"/>
                </a:cubicBezTo>
                <a:cubicBezTo>
                  <a:pt x="0" y="699277"/>
                  <a:pt x="699277" y="0"/>
                  <a:pt x="1561879" y="0"/>
                </a:cubicBezTo>
                <a:cubicBezTo>
                  <a:pt x="2424481" y="0"/>
                  <a:pt x="3123758" y="699277"/>
                  <a:pt x="3123758" y="1561879"/>
                </a:cubicBezTo>
                <a:close/>
              </a:path>
            </a:pathLst>
          </a:custGeom>
          <a:solidFill>
            <a:schemeClr val="tx2"/>
          </a:solidFill>
          <a:ln w="703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B7AF8B-4C0D-448F-934D-760AF204C71C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1987" y="1425568"/>
            <a:ext cx="5400000" cy="488955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992188" y="1924046"/>
            <a:ext cx="5400000" cy="3936347"/>
          </a:xfrm>
        </p:spPr>
        <p:txBody>
          <a:bodyPr anchor="ctr">
            <a:normAutofit/>
          </a:bodyPr>
          <a:lstStyle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46214-B998-47A4-9A3D-E1277D43D3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48815" y="2925607"/>
            <a:ext cx="1997075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31A405-9556-48CE-8FA1-466D74FB4A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55127" y="3828042"/>
            <a:ext cx="2584450" cy="893643"/>
          </a:xfrm>
        </p:spPr>
        <p:txBody>
          <a:bodyPr>
            <a:noAutofit/>
          </a:bodyPr>
          <a:lstStyle>
            <a:lvl1pPr algn="ctr">
              <a:defRPr sz="120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2FABA672-7054-46D6-8734-1C46875CE0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359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Color -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aphic 8">
            <a:extLst>
              <a:ext uri="{FF2B5EF4-FFF2-40B4-BE49-F238E27FC236}">
                <a16:creationId xmlns:a16="http://schemas.microsoft.com/office/drawing/2014/main" id="{726AEA4E-E270-4CAA-97F4-C7AD065F9D3A}"/>
              </a:ext>
            </a:extLst>
          </p:cNvPr>
          <p:cNvGrpSpPr/>
          <p:nvPr/>
        </p:nvGrpSpPr>
        <p:grpSpPr>
          <a:xfrm>
            <a:off x="4874388" y="-455826"/>
            <a:ext cx="7080367" cy="7769653"/>
            <a:chOff x="4874388" y="-455826"/>
            <a:chExt cx="7080367" cy="7769653"/>
          </a:xfrm>
        </p:grpSpPr>
        <p:sp>
          <p:nvSpPr>
            <p:cNvPr id="16" name="Graphic 8">
              <a:extLst>
                <a:ext uri="{FF2B5EF4-FFF2-40B4-BE49-F238E27FC236}">
                  <a16:creationId xmlns:a16="http://schemas.microsoft.com/office/drawing/2014/main" id="{7B97E23E-396F-4A53-AEF9-79F877255667}"/>
                </a:ext>
              </a:extLst>
            </p:cNvPr>
            <p:cNvSpPr/>
            <p:nvPr/>
          </p:nvSpPr>
          <p:spPr>
            <a:xfrm>
              <a:off x="10875650" y="2380137"/>
              <a:ext cx="667592" cy="2097702"/>
            </a:xfrm>
            <a:custGeom>
              <a:avLst/>
              <a:gdLst>
                <a:gd name="connsiteX0" fmla="*/ 272772 w 667592"/>
                <a:gd name="connsiteY0" fmla="*/ 2097703 h 2097702"/>
                <a:gd name="connsiteX1" fmla="*/ 188485 w 667592"/>
                <a:gd name="connsiteY1" fmla="*/ 2084394 h 2097702"/>
                <a:gd name="connsiteX2" fmla="*/ 13572 w 667592"/>
                <a:gd name="connsiteY2" fmla="*/ 1740907 h 2097702"/>
                <a:gd name="connsiteX3" fmla="*/ 122575 w 667592"/>
                <a:gd name="connsiteY3" fmla="*/ 1048863 h 2097702"/>
                <a:gd name="connsiteX4" fmla="*/ 13572 w 667592"/>
                <a:gd name="connsiteY4" fmla="*/ 356818 h 2097702"/>
                <a:gd name="connsiteX5" fmla="*/ 188485 w 667592"/>
                <a:gd name="connsiteY5" fmla="*/ 13331 h 2097702"/>
                <a:gd name="connsiteX6" fmla="*/ 531972 w 667592"/>
                <a:gd name="connsiteY6" fmla="*/ 188244 h 2097702"/>
                <a:gd name="connsiteX7" fmla="*/ 667593 w 667592"/>
                <a:gd name="connsiteY7" fmla="*/ 1048863 h 2097702"/>
                <a:gd name="connsiteX8" fmla="*/ 531972 w 667592"/>
                <a:gd name="connsiteY8" fmla="*/ 1909482 h 2097702"/>
                <a:gd name="connsiteX9" fmla="*/ 272772 w 667592"/>
                <a:gd name="connsiteY9" fmla="*/ 2097703 h 209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7592" h="2097702">
                  <a:moveTo>
                    <a:pt x="272772" y="2097703"/>
                  </a:moveTo>
                  <a:cubicBezTo>
                    <a:pt x="244887" y="2097703"/>
                    <a:pt x="216369" y="2093266"/>
                    <a:pt x="188485" y="2084394"/>
                  </a:cubicBezTo>
                  <a:cubicBezTo>
                    <a:pt x="45259" y="2038131"/>
                    <a:pt x="-33325" y="1884132"/>
                    <a:pt x="13572" y="1740907"/>
                  </a:cubicBezTo>
                  <a:cubicBezTo>
                    <a:pt x="85819" y="1518464"/>
                    <a:pt x="122575" y="1285248"/>
                    <a:pt x="122575" y="1048863"/>
                  </a:cubicBezTo>
                  <a:cubicBezTo>
                    <a:pt x="122575" y="812478"/>
                    <a:pt x="85819" y="579261"/>
                    <a:pt x="13572" y="356818"/>
                  </a:cubicBezTo>
                  <a:cubicBezTo>
                    <a:pt x="-32691" y="213593"/>
                    <a:pt x="45259" y="60228"/>
                    <a:pt x="188485" y="13331"/>
                  </a:cubicBezTo>
                  <a:cubicBezTo>
                    <a:pt x="331710" y="-32932"/>
                    <a:pt x="485075" y="45018"/>
                    <a:pt x="531972" y="188244"/>
                  </a:cubicBezTo>
                  <a:cubicBezTo>
                    <a:pt x="621963" y="465188"/>
                    <a:pt x="667593" y="754807"/>
                    <a:pt x="667593" y="1048863"/>
                  </a:cubicBezTo>
                  <a:cubicBezTo>
                    <a:pt x="667593" y="1342918"/>
                    <a:pt x="621963" y="1631904"/>
                    <a:pt x="531972" y="1909482"/>
                  </a:cubicBezTo>
                  <a:cubicBezTo>
                    <a:pt x="494581" y="2024189"/>
                    <a:pt x="387479" y="2097703"/>
                    <a:pt x="272772" y="2097703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Graphic 8">
              <a:extLst>
                <a:ext uri="{FF2B5EF4-FFF2-40B4-BE49-F238E27FC236}">
                  <a16:creationId xmlns:a16="http://schemas.microsoft.com/office/drawing/2014/main" id="{EA9E52D6-31EF-4FA1-B7D9-EAA0154F5E8E}"/>
                </a:ext>
              </a:extLst>
            </p:cNvPr>
            <p:cNvSpPr/>
            <p:nvPr/>
          </p:nvSpPr>
          <p:spPr>
            <a:xfrm>
              <a:off x="6097244" y="1679936"/>
              <a:ext cx="902651" cy="1245240"/>
            </a:xfrm>
            <a:custGeom>
              <a:avLst/>
              <a:gdLst>
                <a:gd name="connsiteX0" fmla="*/ 272772 w 902651"/>
                <a:gd name="connsiteY0" fmla="*/ 1245241 h 1245240"/>
                <a:gd name="connsiteX1" fmla="*/ 188484 w 902651"/>
                <a:gd name="connsiteY1" fmla="*/ 1231932 h 1245240"/>
                <a:gd name="connsiteX2" fmla="*/ 13572 w 902651"/>
                <a:gd name="connsiteY2" fmla="*/ 888445 h 1245240"/>
                <a:gd name="connsiteX3" fmla="*/ 409660 w 902651"/>
                <a:gd name="connsiteY3" fmla="*/ 112113 h 1245240"/>
                <a:gd name="connsiteX4" fmla="*/ 790538 w 902651"/>
                <a:gd name="connsiteY4" fmla="*/ 51908 h 1245240"/>
                <a:gd name="connsiteX5" fmla="*/ 850744 w 902651"/>
                <a:gd name="connsiteY5" fmla="*/ 432786 h 1245240"/>
                <a:gd name="connsiteX6" fmla="*/ 532606 w 902651"/>
                <a:gd name="connsiteY6" fmla="*/ 1056386 h 1245240"/>
                <a:gd name="connsiteX7" fmla="*/ 272772 w 902651"/>
                <a:gd name="connsiteY7" fmla="*/ 1245241 h 124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651" h="1245240">
                  <a:moveTo>
                    <a:pt x="272772" y="1245241"/>
                  </a:moveTo>
                  <a:cubicBezTo>
                    <a:pt x="244887" y="1245241"/>
                    <a:pt x="216369" y="1240804"/>
                    <a:pt x="188484" y="1231932"/>
                  </a:cubicBezTo>
                  <a:cubicBezTo>
                    <a:pt x="45259" y="1185669"/>
                    <a:pt x="-33325" y="1031670"/>
                    <a:pt x="13572" y="888445"/>
                  </a:cubicBezTo>
                  <a:cubicBezTo>
                    <a:pt x="103563" y="610233"/>
                    <a:pt x="237283" y="349132"/>
                    <a:pt x="409660" y="112113"/>
                  </a:cubicBezTo>
                  <a:cubicBezTo>
                    <a:pt x="498384" y="-9565"/>
                    <a:pt x="668860" y="-36182"/>
                    <a:pt x="790538" y="51908"/>
                  </a:cubicBezTo>
                  <a:cubicBezTo>
                    <a:pt x="912217" y="140632"/>
                    <a:pt x="938834" y="311108"/>
                    <a:pt x="850744" y="432786"/>
                  </a:cubicBezTo>
                  <a:cubicBezTo>
                    <a:pt x="711954" y="623541"/>
                    <a:pt x="604852" y="833309"/>
                    <a:pt x="532606" y="1056386"/>
                  </a:cubicBezTo>
                  <a:cubicBezTo>
                    <a:pt x="494581" y="1172360"/>
                    <a:pt x="387479" y="1245241"/>
                    <a:pt x="272772" y="1245241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Graphic 8">
              <a:extLst>
                <a:ext uri="{FF2B5EF4-FFF2-40B4-BE49-F238E27FC236}">
                  <a16:creationId xmlns:a16="http://schemas.microsoft.com/office/drawing/2014/main" id="{D249FE50-AD3F-4294-BCB6-BF9904692F2D}"/>
                </a:ext>
              </a:extLst>
            </p:cNvPr>
            <p:cNvSpPr/>
            <p:nvPr/>
          </p:nvSpPr>
          <p:spPr>
            <a:xfrm>
              <a:off x="6363463" y="-455826"/>
              <a:ext cx="5591292" cy="2033672"/>
            </a:xfrm>
            <a:custGeom>
              <a:avLst/>
              <a:gdLst>
                <a:gd name="connsiteX0" fmla="*/ 5318569 w 5591292"/>
                <a:gd name="connsiteY0" fmla="*/ 2033672 h 2033672"/>
                <a:gd name="connsiteX1" fmla="*/ 5098027 w 5591292"/>
                <a:gd name="connsiteY1" fmla="*/ 1921500 h 2033672"/>
                <a:gd name="connsiteX2" fmla="*/ 4359085 w 5591292"/>
                <a:gd name="connsiteY2" fmla="*/ 1182559 h 2033672"/>
                <a:gd name="connsiteX3" fmla="*/ 3428754 w 5591292"/>
                <a:gd name="connsiteY3" fmla="*/ 707888 h 2033672"/>
                <a:gd name="connsiteX4" fmla="*/ 2395756 w 5591292"/>
                <a:gd name="connsiteY4" fmla="*/ 545017 h 2033672"/>
                <a:gd name="connsiteX5" fmla="*/ 1363392 w 5591292"/>
                <a:gd name="connsiteY5" fmla="*/ 707254 h 2033672"/>
                <a:gd name="connsiteX6" fmla="*/ 433060 w 5591292"/>
                <a:gd name="connsiteY6" fmla="*/ 1181925 h 2033672"/>
                <a:gd name="connsiteX7" fmla="*/ 52182 w 5591292"/>
                <a:gd name="connsiteY7" fmla="*/ 1121720 h 2033672"/>
                <a:gd name="connsiteX8" fmla="*/ 112388 w 5591292"/>
                <a:gd name="connsiteY8" fmla="*/ 740842 h 2033672"/>
                <a:gd name="connsiteX9" fmla="*/ 1195451 w 5591292"/>
                <a:gd name="connsiteY9" fmla="*/ 188221 h 2033672"/>
                <a:gd name="connsiteX10" fmla="*/ 2395756 w 5591292"/>
                <a:gd name="connsiteY10" fmla="*/ 0 h 2033672"/>
                <a:gd name="connsiteX11" fmla="*/ 3596695 w 5591292"/>
                <a:gd name="connsiteY11" fmla="*/ 189488 h 2033672"/>
                <a:gd name="connsiteX12" fmla="*/ 4679758 w 5591292"/>
                <a:gd name="connsiteY12" fmla="*/ 742110 h 2033672"/>
                <a:gd name="connsiteX13" fmla="*/ 5539111 w 5591292"/>
                <a:gd name="connsiteY13" fmla="*/ 1601461 h 2033672"/>
                <a:gd name="connsiteX14" fmla="*/ 5478905 w 5591292"/>
                <a:gd name="connsiteY14" fmla="*/ 1982339 h 2033672"/>
                <a:gd name="connsiteX15" fmla="*/ 5318569 w 5591292"/>
                <a:gd name="connsiteY15" fmla="*/ 2033672 h 203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91292" h="2033672">
                  <a:moveTo>
                    <a:pt x="5318569" y="2033672"/>
                  </a:moveTo>
                  <a:cubicBezTo>
                    <a:pt x="5234281" y="2033672"/>
                    <a:pt x="5151262" y="1995014"/>
                    <a:pt x="5098027" y="1921500"/>
                  </a:cubicBezTo>
                  <a:cubicBezTo>
                    <a:pt x="4891427" y="1637585"/>
                    <a:pt x="4642367" y="1389158"/>
                    <a:pt x="4359085" y="1182559"/>
                  </a:cubicBezTo>
                  <a:cubicBezTo>
                    <a:pt x="4074536" y="975326"/>
                    <a:pt x="3761467" y="815624"/>
                    <a:pt x="3428754" y="707888"/>
                  </a:cubicBezTo>
                  <a:cubicBezTo>
                    <a:pt x="3096040" y="599518"/>
                    <a:pt x="2748750" y="545017"/>
                    <a:pt x="2395756" y="545017"/>
                  </a:cubicBezTo>
                  <a:cubicBezTo>
                    <a:pt x="2042762" y="545017"/>
                    <a:pt x="1695472" y="599518"/>
                    <a:pt x="1363392" y="707254"/>
                  </a:cubicBezTo>
                  <a:cubicBezTo>
                    <a:pt x="1030044" y="815624"/>
                    <a:pt x="716976" y="975326"/>
                    <a:pt x="433060" y="1181925"/>
                  </a:cubicBezTo>
                  <a:cubicBezTo>
                    <a:pt x="311382" y="1270649"/>
                    <a:pt x="140906" y="1243398"/>
                    <a:pt x="52182" y="1121720"/>
                  </a:cubicBezTo>
                  <a:cubicBezTo>
                    <a:pt x="-36541" y="1000042"/>
                    <a:pt x="-9291" y="829566"/>
                    <a:pt x="112388" y="740842"/>
                  </a:cubicBezTo>
                  <a:cubicBezTo>
                    <a:pt x="443200" y="500021"/>
                    <a:pt x="807601" y="314335"/>
                    <a:pt x="1195451" y="188221"/>
                  </a:cubicBezTo>
                  <a:cubicBezTo>
                    <a:pt x="1581399" y="63374"/>
                    <a:pt x="1985726" y="0"/>
                    <a:pt x="2395756" y="0"/>
                  </a:cubicBezTo>
                  <a:cubicBezTo>
                    <a:pt x="2805786" y="0"/>
                    <a:pt x="3210113" y="63374"/>
                    <a:pt x="3596695" y="189488"/>
                  </a:cubicBezTo>
                  <a:cubicBezTo>
                    <a:pt x="3984544" y="315603"/>
                    <a:pt x="4348945" y="501288"/>
                    <a:pt x="4679758" y="742110"/>
                  </a:cubicBezTo>
                  <a:cubicBezTo>
                    <a:pt x="5009937" y="982297"/>
                    <a:pt x="5298923" y="1271283"/>
                    <a:pt x="5539111" y="1601461"/>
                  </a:cubicBezTo>
                  <a:cubicBezTo>
                    <a:pt x="5627834" y="1723139"/>
                    <a:pt x="5600583" y="1893616"/>
                    <a:pt x="5478905" y="1982339"/>
                  </a:cubicBezTo>
                  <a:cubicBezTo>
                    <a:pt x="5430108" y="2017195"/>
                    <a:pt x="5374338" y="2033672"/>
                    <a:pt x="5318569" y="2033672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Graphic 8">
              <a:extLst>
                <a:ext uri="{FF2B5EF4-FFF2-40B4-BE49-F238E27FC236}">
                  <a16:creationId xmlns:a16="http://schemas.microsoft.com/office/drawing/2014/main" id="{5A110A60-A130-4267-A6FF-E5A5A23B7106}"/>
                </a:ext>
              </a:extLst>
            </p:cNvPr>
            <p:cNvSpPr/>
            <p:nvPr/>
          </p:nvSpPr>
          <p:spPr>
            <a:xfrm>
              <a:off x="4874388" y="3156492"/>
              <a:ext cx="1234108" cy="2668679"/>
            </a:xfrm>
            <a:custGeom>
              <a:avLst/>
              <a:gdLst>
                <a:gd name="connsiteX0" fmla="*/ 962652 w 1234108"/>
                <a:gd name="connsiteY0" fmla="*/ 2668680 h 2668679"/>
                <a:gd name="connsiteX1" fmla="*/ 742111 w 1234108"/>
                <a:gd name="connsiteY1" fmla="*/ 2556508 h 2668679"/>
                <a:gd name="connsiteX2" fmla="*/ 189489 w 1234108"/>
                <a:gd name="connsiteY2" fmla="*/ 1473446 h 2668679"/>
                <a:gd name="connsiteX3" fmla="*/ 0 w 1234108"/>
                <a:gd name="connsiteY3" fmla="*/ 272508 h 2668679"/>
                <a:gd name="connsiteX4" fmla="*/ 272509 w 1234108"/>
                <a:gd name="connsiteY4" fmla="*/ 0 h 2668679"/>
                <a:gd name="connsiteX5" fmla="*/ 545017 w 1234108"/>
                <a:gd name="connsiteY5" fmla="*/ 272508 h 2668679"/>
                <a:gd name="connsiteX6" fmla="*/ 707255 w 1234108"/>
                <a:gd name="connsiteY6" fmla="*/ 1304871 h 2668679"/>
                <a:gd name="connsiteX7" fmla="*/ 1181927 w 1234108"/>
                <a:gd name="connsiteY7" fmla="*/ 2235835 h 2668679"/>
                <a:gd name="connsiteX8" fmla="*/ 1121721 w 1234108"/>
                <a:gd name="connsiteY8" fmla="*/ 2616713 h 2668679"/>
                <a:gd name="connsiteX9" fmla="*/ 962652 w 1234108"/>
                <a:gd name="connsiteY9" fmla="*/ 2668680 h 2668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4108" h="2668679">
                  <a:moveTo>
                    <a:pt x="962652" y="2668680"/>
                  </a:moveTo>
                  <a:cubicBezTo>
                    <a:pt x="878365" y="2668680"/>
                    <a:pt x="795345" y="2630022"/>
                    <a:pt x="742111" y="2556508"/>
                  </a:cubicBezTo>
                  <a:cubicBezTo>
                    <a:pt x="501289" y="2225696"/>
                    <a:pt x="315603" y="1861295"/>
                    <a:pt x="189489" y="1473446"/>
                  </a:cubicBezTo>
                  <a:cubicBezTo>
                    <a:pt x="63374" y="1086864"/>
                    <a:pt x="0" y="682538"/>
                    <a:pt x="0" y="272508"/>
                  </a:cubicBezTo>
                  <a:cubicBezTo>
                    <a:pt x="0" y="122312"/>
                    <a:pt x="122312" y="0"/>
                    <a:pt x="272509" y="0"/>
                  </a:cubicBezTo>
                  <a:cubicBezTo>
                    <a:pt x="422705" y="0"/>
                    <a:pt x="545017" y="122312"/>
                    <a:pt x="545017" y="272508"/>
                  </a:cubicBezTo>
                  <a:cubicBezTo>
                    <a:pt x="545017" y="625502"/>
                    <a:pt x="599519" y="972791"/>
                    <a:pt x="707255" y="1304871"/>
                  </a:cubicBezTo>
                  <a:cubicBezTo>
                    <a:pt x="815624" y="1638218"/>
                    <a:pt x="975327" y="1951286"/>
                    <a:pt x="1181927" y="2235835"/>
                  </a:cubicBezTo>
                  <a:cubicBezTo>
                    <a:pt x="1270650" y="2357513"/>
                    <a:pt x="1243400" y="2527990"/>
                    <a:pt x="1121721" y="2616713"/>
                  </a:cubicBezTo>
                  <a:cubicBezTo>
                    <a:pt x="1074191" y="2651569"/>
                    <a:pt x="1017788" y="2668680"/>
                    <a:pt x="962652" y="2668680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Graphic 8">
              <a:extLst>
                <a:ext uri="{FF2B5EF4-FFF2-40B4-BE49-F238E27FC236}">
                  <a16:creationId xmlns:a16="http://schemas.microsoft.com/office/drawing/2014/main" id="{BE0D807C-8331-4063-85DF-BACD56B5C8B9}"/>
                </a:ext>
              </a:extLst>
            </p:cNvPr>
            <p:cNvSpPr/>
            <p:nvPr/>
          </p:nvSpPr>
          <p:spPr>
            <a:xfrm>
              <a:off x="7369796" y="6592368"/>
              <a:ext cx="2778846" cy="721459"/>
            </a:xfrm>
            <a:custGeom>
              <a:avLst/>
              <a:gdLst>
                <a:gd name="connsiteX0" fmla="*/ 1389423 w 2778846"/>
                <a:gd name="connsiteY0" fmla="*/ 721460 h 721459"/>
                <a:gd name="connsiteX1" fmla="*/ 188485 w 2778846"/>
                <a:gd name="connsiteY1" fmla="*/ 531971 h 721459"/>
                <a:gd name="connsiteX2" fmla="*/ 13572 w 2778846"/>
                <a:gd name="connsiteY2" fmla="*/ 188484 h 721459"/>
                <a:gd name="connsiteX3" fmla="*/ 357060 w 2778846"/>
                <a:gd name="connsiteY3" fmla="*/ 13572 h 721459"/>
                <a:gd name="connsiteX4" fmla="*/ 1389423 w 2778846"/>
                <a:gd name="connsiteY4" fmla="*/ 175809 h 721459"/>
                <a:gd name="connsiteX5" fmla="*/ 2421787 w 2778846"/>
                <a:gd name="connsiteY5" fmla="*/ 13572 h 721459"/>
                <a:gd name="connsiteX6" fmla="*/ 2765275 w 2778846"/>
                <a:gd name="connsiteY6" fmla="*/ 188484 h 721459"/>
                <a:gd name="connsiteX7" fmla="*/ 2590362 w 2778846"/>
                <a:gd name="connsiteY7" fmla="*/ 531971 h 721459"/>
                <a:gd name="connsiteX8" fmla="*/ 1389423 w 2778846"/>
                <a:gd name="connsiteY8" fmla="*/ 721460 h 721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8846" h="721459">
                  <a:moveTo>
                    <a:pt x="1389423" y="721460"/>
                  </a:moveTo>
                  <a:cubicBezTo>
                    <a:pt x="979393" y="721460"/>
                    <a:pt x="575066" y="658086"/>
                    <a:pt x="188485" y="531971"/>
                  </a:cubicBezTo>
                  <a:cubicBezTo>
                    <a:pt x="45259" y="485709"/>
                    <a:pt x="-33325" y="331709"/>
                    <a:pt x="13572" y="188484"/>
                  </a:cubicBezTo>
                  <a:cubicBezTo>
                    <a:pt x="59835" y="45259"/>
                    <a:pt x="213834" y="-33325"/>
                    <a:pt x="357060" y="13572"/>
                  </a:cubicBezTo>
                  <a:cubicBezTo>
                    <a:pt x="689140" y="121308"/>
                    <a:pt x="1036430" y="175809"/>
                    <a:pt x="1389423" y="175809"/>
                  </a:cubicBezTo>
                  <a:cubicBezTo>
                    <a:pt x="1742417" y="175809"/>
                    <a:pt x="2089707" y="121308"/>
                    <a:pt x="2421787" y="13572"/>
                  </a:cubicBezTo>
                  <a:cubicBezTo>
                    <a:pt x="2565013" y="-32691"/>
                    <a:pt x="2718378" y="45259"/>
                    <a:pt x="2765275" y="188484"/>
                  </a:cubicBezTo>
                  <a:cubicBezTo>
                    <a:pt x="2812172" y="331709"/>
                    <a:pt x="2733588" y="485074"/>
                    <a:pt x="2590362" y="531971"/>
                  </a:cubicBezTo>
                  <a:cubicBezTo>
                    <a:pt x="2203780" y="658086"/>
                    <a:pt x="1799454" y="721460"/>
                    <a:pt x="1389423" y="721460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Graphic 8">
              <a:extLst>
                <a:ext uri="{FF2B5EF4-FFF2-40B4-BE49-F238E27FC236}">
                  <a16:creationId xmlns:a16="http://schemas.microsoft.com/office/drawing/2014/main" id="{D5A18019-7F56-409E-BE64-40C51C5080C3}"/>
                </a:ext>
              </a:extLst>
            </p:cNvPr>
            <p:cNvSpPr/>
            <p:nvPr/>
          </p:nvSpPr>
          <p:spPr>
            <a:xfrm>
              <a:off x="5730572" y="833200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7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7"/>
                    <a:pt x="272509" y="545017"/>
                  </a:cubicBezTo>
                  <a:cubicBezTo>
                    <a:pt x="122006" y="545017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Graphic 8">
              <a:extLst>
                <a:ext uri="{FF2B5EF4-FFF2-40B4-BE49-F238E27FC236}">
                  <a16:creationId xmlns:a16="http://schemas.microsoft.com/office/drawing/2014/main" id="{426CF1F7-3455-48CE-B2B9-E7D9706647BE}"/>
                </a:ext>
              </a:extLst>
            </p:cNvPr>
            <p:cNvSpPr/>
            <p:nvPr/>
          </p:nvSpPr>
          <p:spPr>
            <a:xfrm>
              <a:off x="5973928" y="3150788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6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6"/>
                    <a:pt x="272509" y="545016"/>
                  </a:cubicBezTo>
                  <a:cubicBezTo>
                    <a:pt x="122006" y="545016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A5F2CA0A-3C25-4EAF-A566-95ADAEC4076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70503" y="628114"/>
            <a:ext cx="6542105" cy="5963613"/>
          </a:xfrm>
          <a:custGeom>
            <a:avLst/>
            <a:gdLst>
              <a:gd name="connsiteX0" fmla="*/ 544936 w 6542105"/>
              <a:gd name="connsiteY0" fmla="*/ 5419454 h 5963613"/>
              <a:gd name="connsiteX1" fmla="*/ 789759 w 6542105"/>
              <a:gd name="connsiteY1" fmla="*/ 5593386 h 5963613"/>
              <a:gd name="connsiteX2" fmla="*/ 633332 w 6542105"/>
              <a:gd name="connsiteY2" fmla="*/ 5945505 h 5963613"/>
              <a:gd name="connsiteX3" fmla="*/ 281212 w 6542105"/>
              <a:gd name="connsiteY3" fmla="*/ 5789078 h 5963613"/>
              <a:gd name="connsiteX4" fmla="*/ 438273 w 6542105"/>
              <a:gd name="connsiteY4" fmla="*/ 5437592 h 5963613"/>
              <a:gd name="connsiteX5" fmla="*/ 544936 w 6542105"/>
              <a:gd name="connsiteY5" fmla="*/ 5419454 h 5963613"/>
              <a:gd name="connsiteX6" fmla="*/ 4125958 w 6542105"/>
              <a:gd name="connsiteY6" fmla="*/ 4540415 h 5963613"/>
              <a:gd name="connsiteX7" fmla="*/ 4355922 w 6542105"/>
              <a:gd name="connsiteY7" fmla="*/ 4652288 h 5963613"/>
              <a:gd name="connsiteX8" fmla="*/ 4295758 w 6542105"/>
              <a:gd name="connsiteY8" fmla="*/ 5032908 h 5963613"/>
              <a:gd name="connsiteX9" fmla="*/ 3519955 w 6542105"/>
              <a:gd name="connsiteY9" fmla="*/ 5428726 h 5963613"/>
              <a:gd name="connsiteX10" fmla="*/ 2660554 w 6542105"/>
              <a:gd name="connsiteY10" fmla="*/ 5563620 h 5963613"/>
              <a:gd name="connsiteX11" fmla="*/ 2388231 w 6542105"/>
              <a:gd name="connsiteY11" fmla="*/ 5291297 h 5963613"/>
              <a:gd name="connsiteX12" fmla="*/ 2660554 w 6542105"/>
              <a:gd name="connsiteY12" fmla="*/ 5018975 h 5963613"/>
              <a:gd name="connsiteX13" fmla="*/ 3352127 w 6542105"/>
              <a:gd name="connsiteY13" fmla="*/ 4910046 h 5963613"/>
              <a:gd name="connsiteX14" fmla="*/ 3975304 w 6542105"/>
              <a:gd name="connsiteY14" fmla="*/ 4592124 h 5963613"/>
              <a:gd name="connsiteX15" fmla="*/ 4125958 w 6542105"/>
              <a:gd name="connsiteY15" fmla="*/ 4540415 h 5963613"/>
              <a:gd name="connsiteX16" fmla="*/ 295541 w 6542105"/>
              <a:gd name="connsiteY16" fmla="*/ 3286587 h 5963613"/>
              <a:gd name="connsiteX17" fmla="*/ 531370 w 6542105"/>
              <a:gd name="connsiteY17" fmla="*/ 3473700 h 5963613"/>
              <a:gd name="connsiteX18" fmla="*/ 849290 w 6542105"/>
              <a:gd name="connsiteY18" fmla="*/ 4096877 h 5963613"/>
              <a:gd name="connsiteX19" fmla="*/ 1344538 w 6542105"/>
              <a:gd name="connsiteY19" fmla="*/ 4592124 h 5963613"/>
              <a:gd name="connsiteX20" fmla="*/ 1404703 w 6542105"/>
              <a:gd name="connsiteY20" fmla="*/ 4972743 h 5963613"/>
              <a:gd name="connsiteX21" fmla="*/ 1184311 w 6542105"/>
              <a:gd name="connsiteY21" fmla="*/ 5084839 h 5963613"/>
              <a:gd name="connsiteX22" fmla="*/ 1024083 w 6542105"/>
              <a:gd name="connsiteY22" fmla="*/ 5032908 h 5963613"/>
              <a:gd name="connsiteX23" fmla="*/ 409141 w 6542105"/>
              <a:gd name="connsiteY23" fmla="*/ 4417964 h 5963613"/>
              <a:gd name="connsiteX24" fmla="*/ 13323 w 6542105"/>
              <a:gd name="connsiteY24" fmla="*/ 3642160 h 5963613"/>
              <a:gd name="connsiteX25" fmla="*/ 188116 w 6542105"/>
              <a:gd name="connsiteY25" fmla="*/ 3298907 h 5963613"/>
              <a:gd name="connsiteX26" fmla="*/ 295541 w 6542105"/>
              <a:gd name="connsiteY26" fmla="*/ 3286587 h 5963613"/>
              <a:gd name="connsiteX27" fmla="*/ 6269782 w 6542105"/>
              <a:gd name="connsiteY27" fmla="*/ 2509804 h 5963613"/>
              <a:gd name="connsiteX28" fmla="*/ 6542105 w 6542105"/>
              <a:gd name="connsiteY28" fmla="*/ 2782127 h 5963613"/>
              <a:gd name="connsiteX29" fmla="*/ 6352746 w 6542105"/>
              <a:gd name="connsiteY29" fmla="*/ 3982247 h 5963613"/>
              <a:gd name="connsiteX30" fmla="*/ 5800501 w 6542105"/>
              <a:gd name="connsiteY30" fmla="*/ 5064573 h 5963613"/>
              <a:gd name="connsiteX31" fmla="*/ 5581375 w 6542105"/>
              <a:gd name="connsiteY31" fmla="*/ 5176035 h 5963613"/>
              <a:gd name="connsiteX32" fmla="*/ 5421148 w 6542105"/>
              <a:gd name="connsiteY32" fmla="*/ 5124104 h 5963613"/>
              <a:gd name="connsiteX33" fmla="*/ 5360984 w 6542105"/>
              <a:gd name="connsiteY33" fmla="*/ 4743485 h 5963613"/>
              <a:gd name="connsiteX34" fmla="*/ 5835333 w 6542105"/>
              <a:gd name="connsiteY34" fmla="*/ 3813788 h 5963613"/>
              <a:gd name="connsiteX35" fmla="*/ 5997460 w 6542105"/>
              <a:gd name="connsiteY35" fmla="*/ 2782127 h 5963613"/>
              <a:gd name="connsiteX36" fmla="*/ 6269782 w 6542105"/>
              <a:gd name="connsiteY36" fmla="*/ 2509804 h 5963613"/>
              <a:gd name="connsiteX37" fmla="*/ 6135766 w 6542105"/>
              <a:gd name="connsiteY37" fmla="*/ 1422832 h 5963613"/>
              <a:gd name="connsiteX38" fmla="*/ 6189985 w 6542105"/>
              <a:gd name="connsiteY38" fmla="*/ 1432546 h 5963613"/>
              <a:gd name="connsiteX39" fmla="*/ 6376812 w 6542105"/>
              <a:gd name="connsiteY39" fmla="*/ 1769466 h 5963613"/>
              <a:gd name="connsiteX40" fmla="*/ 6039891 w 6542105"/>
              <a:gd name="connsiteY40" fmla="*/ 1956292 h 5963613"/>
              <a:gd name="connsiteX41" fmla="*/ 5853065 w 6542105"/>
              <a:gd name="connsiteY41" fmla="*/ 1619371 h 5963613"/>
              <a:gd name="connsiteX42" fmla="*/ 6135766 w 6542105"/>
              <a:gd name="connsiteY42" fmla="*/ 1422832 h 5963613"/>
              <a:gd name="connsiteX43" fmla="*/ 2659921 w 6542105"/>
              <a:gd name="connsiteY43" fmla="*/ 1097525 h 5963613"/>
              <a:gd name="connsiteX44" fmla="*/ 4344523 w 6542105"/>
              <a:gd name="connsiteY44" fmla="*/ 2782127 h 5963613"/>
              <a:gd name="connsiteX45" fmla="*/ 2659921 w 6542105"/>
              <a:gd name="connsiteY45" fmla="*/ 4466729 h 5963613"/>
              <a:gd name="connsiteX46" fmla="*/ 975319 w 6542105"/>
              <a:gd name="connsiteY46" fmla="*/ 2782127 h 5963613"/>
              <a:gd name="connsiteX47" fmla="*/ 2659921 w 6542105"/>
              <a:gd name="connsiteY47" fmla="*/ 1097525 h 5963613"/>
              <a:gd name="connsiteX48" fmla="*/ 1161512 w 6542105"/>
              <a:gd name="connsiteY48" fmla="*/ 462316 h 5963613"/>
              <a:gd name="connsiteX49" fmla="*/ 1447767 w 6542105"/>
              <a:gd name="connsiteY49" fmla="*/ 720073 h 5963613"/>
              <a:gd name="connsiteX50" fmla="*/ 1190011 w 6542105"/>
              <a:gd name="connsiteY50" fmla="*/ 1006329 h 5963613"/>
              <a:gd name="connsiteX51" fmla="*/ 903755 w 6542105"/>
              <a:gd name="connsiteY51" fmla="*/ 748571 h 5963613"/>
              <a:gd name="connsiteX52" fmla="*/ 1161512 w 6542105"/>
              <a:gd name="connsiteY52" fmla="*/ 462316 h 5963613"/>
              <a:gd name="connsiteX53" fmla="*/ 2659921 w 6542105"/>
              <a:gd name="connsiteY53" fmla="*/ 0 h 5963613"/>
              <a:gd name="connsiteX54" fmla="*/ 3519321 w 6542105"/>
              <a:gd name="connsiteY54" fmla="*/ 135528 h 5963613"/>
              <a:gd name="connsiteX55" fmla="*/ 4295125 w 6542105"/>
              <a:gd name="connsiteY55" fmla="*/ 531346 h 5963613"/>
              <a:gd name="connsiteX56" fmla="*/ 4355289 w 6542105"/>
              <a:gd name="connsiteY56" fmla="*/ 911965 h 5963613"/>
              <a:gd name="connsiteX57" fmla="*/ 4134898 w 6542105"/>
              <a:gd name="connsiteY57" fmla="*/ 1023427 h 5963613"/>
              <a:gd name="connsiteX58" fmla="*/ 3974670 w 6542105"/>
              <a:gd name="connsiteY58" fmla="*/ 971496 h 5963613"/>
              <a:gd name="connsiteX59" fmla="*/ 3351494 w 6542105"/>
              <a:gd name="connsiteY59" fmla="*/ 653575 h 5963613"/>
              <a:gd name="connsiteX60" fmla="*/ 2659921 w 6542105"/>
              <a:gd name="connsiteY60" fmla="*/ 544646 h 5963613"/>
              <a:gd name="connsiteX61" fmla="*/ 1968347 w 6542105"/>
              <a:gd name="connsiteY61" fmla="*/ 653575 h 5963613"/>
              <a:gd name="connsiteX62" fmla="*/ 1625094 w 6542105"/>
              <a:gd name="connsiteY62" fmla="*/ 478782 h 5963613"/>
              <a:gd name="connsiteX63" fmla="*/ 1799888 w 6542105"/>
              <a:gd name="connsiteY63" fmla="*/ 135528 h 5963613"/>
              <a:gd name="connsiteX64" fmla="*/ 2659921 w 6542105"/>
              <a:gd name="connsiteY64" fmla="*/ 0 h 5963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542105" h="5963613">
                <a:moveTo>
                  <a:pt x="544936" y="5419454"/>
                </a:moveTo>
                <a:cubicBezTo>
                  <a:pt x="650946" y="5422749"/>
                  <a:pt x="749386" y="5487940"/>
                  <a:pt x="789759" y="5593386"/>
                </a:cubicBezTo>
                <a:cubicBezTo>
                  <a:pt x="843591" y="5733981"/>
                  <a:pt x="773926" y="5891674"/>
                  <a:pt x="633332" y="5945505"/>
                </a:cubicBezTo>
                <a:cubicBezTo>
                  <a:pt x="492737" y="5999337"/>
                  <a:pt x="335044" y="5929040"/>
                  <a:pt x="281212" y="5789078"/>
                </a:cubicBezTo>
                <a:cubicBezTo>
                  <a:pt x="227381" y="5649118"/>
                  <a:pt x="297678" y="5491423"/>
                  <a:pt x="438273" y="5437592"/>
                </a:cubicBezTo>
                <a:cubicBezTo>
                  <a:pt x="473422" y="5424134"/>
                  <a:pt x="509600" y="5418355"/>
                  <a:pt x="544936" y="5419454"/>
                </a:cubicBezTo>
                <a:close/>
                <a:moveTo>
                  <a:pt x="4125958" y="4540415"/>
                </a:moveTo>
                <a:cubicBezTo>
                  <a:pt x="4213478" y="4537403"/>
                  <a:pt x="4300904" y="4576292"/>
                  <a:pt x="4355922" y="4652288"/>
                </a:cubicBezTo>
                <a:cubicBezTo>
                  <a:pt x="4443953" y="4773884"/>
                  <a:pt x="4417353" y="4944244"/>
                  <a:pt x="4295758" y="5032908"/>
                </a:cubicBezTo>
                <a:cubicBezTo>
                  <a:pt x="4058901" y="5205168"/>
                  <a:pt x="3797977" y="5338796"/>
                  <a:pt x="3519955" y="5428726"/>
                </a:cubicBezTo>
                <a:cubicBezTo>
                  <a:pt x="3242565" y="5518655"/>
                  <a:pt x="2953776" y="5564254"/>
                  <a:pt x="2660554" y="5563620"/>
                </a:cubicBezTo>
                <a:cubicBezTo>
                  <a:pt x="2510460" y="5563620"/>
                  <a:pt x="2388231" y="5441392"/>
                  <a:pt x="2388231" y="5291297"/>
                </a:cubicBezTo>
                <a:cubicBezTo>
                  <a:pt x="2388231" y="5141203"/>
                  <a:pt x="2510460" y="5018975"/>
                  <a:pt x="2660554" y="5018975"/>
                </a:cubicBezTo>
                <a:cubicBezTo>
                  <a:pt x="2896779" y="5018975"/>
                  <a:pt x="3129836" y="4982243"/>
                  <a:pt x="3352127" y="4910046"/>
                </a:cubicBezTo>
                <a:cubicBezTo>
                  <a:pt x="3575053" y="4837848"/>
                  <a:pt x="3784677" y="4730819"/>
                  <a:pt x="3975304" y="4592124"/>
                </a:cubicBezTo>
                <a:cubicBezTo>
                  <a:pt x="4020902" y="4559113"/>
                  <a:pt x="4073447" y="4542222"/>
                  <a:pt x="4125958" y="4540415"/>
                </a:cubicBezTo>
                <a:close/>
                <a:moveTo>
                  <a:pt x="295541" y="3286587"/>
                </a:moveTo>
                <a:cubicBezTo>
                  <a:pt x="401224" y="3295701"/>
                  <a:pt x="496221" y="3366354"/>
                  <a:pt x="531370" y="3473700"/>
                </a:cubicBezTo>
                <a:cubicBezTo>
                  <a:pt x="603566" y="3696625"/>
                  <a:pt x="710596" y="3906250"/>
                  <a:pt x="849290" y="4096877"/>
                </a:cubicBezTo>
                <a:cubicBezTo>
                  <a:pt x="987985" y="4286870"/>
                  <a:pt x="1154546" y="4454063"/>
                  <a:pt x="1344538" y="4592124"/>
                </a:cubicBezTo>
                <a:cubicBezTo>
                  <a:pt x="1466133" y="4680787"/>
                  <a:pt x="1492732" y="4851147"/>
                  <a:pt x="1404703" y="4972743"/>
                </a:cubicBezTo>
                <a:cubicBezTo>
                  <a:pt x="1351505" y="5046207"/>
                  <a:pt x="1268541" y="5084839"/>
                  <a:pt x="1184311" y="5084839"/>
                </a:cubicBezTo>
                <a:cubicBezTo>
                  <a:pt x="1128580" y="5084839"/>
                  <a:pt x="1072848" y="5067739"/>
                  <a:pt x="1024083" y="5032908"/>
                </a:cubicBezTo>
                <a:cubicBezTo>
                  <a:pt x="787860" y="4860648"/>
                  <a:pt x="580768" y="4654189"/>
                  <a:pt x="409141" y="4417964"/>
                </a:cubicBezTo>
                <a:cubicBezTo>
                  <a:pt x="236881" y="4181107"/>
                  <a:pt x="103252" y="3920183"/>
                  <a:pt x="13323" y="3642160"/>
                </a:cubicBezTo>
                <a:cubicBezTo>
                  <a:pt x="-32909" y="3499033"/>
                  <a:pt x="44988" y="3345772"/>
                  <a:pt x="188116" y="3298907"/>
                </a:cubicBezTo>
                <a:cubicBezTo>
                  <a:pt x="223898" y="3287349"/>
                  <a:pt x="260313" y="3283549"/>
                  <a:pt x="295541" y="3286587"/>
                </a:cubicBezTo>
                <a:close/>
                <a:moveTo>
                  <a:pt x="6269782" y="2509804"/>
                </a:moveTo>
                <a:cubicBezTo>
                  <a:pt x="6419877" y="2509804"/>
                  <a:pt x="6542105" y="2632033"/>
                  <a:pt x="6542105" y="2782127"/>
                </a:cubicBezTo>
                <a:cubicBezTo>
                  <a:pt x="6542105" y="3191878"/>
                  <a:pt x="6478141" y="3595929"/>
                  <a:pt x="6352746" y="3982247"/>
                </a:cubicBezTo>
                <a:cubicBezTo>
                  <a:pt x="6226717" y="4369833"/>
                  <a:pt x="6041157" y="4733986"/>
                  <a:pt x="5800501" y="5064573"/>
                </a:cubicBezTo>
                <a:cubicBezTo>
                  <a:pt x="5747302" y="5137404"/>
                  <a:pt x="5664339" y="5176669"/>
                  <a:pt x="5581375" y="5176035"/>
                </a:cubicBezTo>
                <a:cubicBezTo>
                  <a:pt x="5525645" y="5176035"/>
                  <a:pt x="5469279" y="5159569"/>
                  <a:pt x="5421148" y="5124104"/>
                </a:cubicBezTo>
                <a:cubicBezTo>
                  <a:pt x="5299553" y="5035441"/>
                  <a:pt x="5272321" y="4865081"/>
                  <a:pt x="5360984" y="4743485"/>
                </a:cubicBezTo>
                <a:cubicBezTo>
                  <a:pt x="5567443" y="4459763"/>
                  <a:pt x="5727037" y="4146908"/>
                  <a:pt x="5835333" y="3813788"/>
                </a:cubicBezTo>
                <a:cubicBezTo>
                  <a:pt x="5942995" y="3481933"/>
                  <a:pt x="5997460" y="3134880"/>
                  <a:pt x="5997460" y="2782127"/>
                </a:cubicBezTo>
                <a:cubicBezTo>
                  <a:pt x="5997460" y="2632033"/>
                  <a:pt x="6119688" y="2509804"/>
                  <a:pt x="6269782" y="2509804"/>
                </a:cubicBezTo>
                <a:close/>
                <a:moveTo>
                  <a:pt x="6135766" y="1422832"/>
                </a:moveTo>
                <a:cubicBezTo>
                  <a:pt x="6153788" y="1424204"/>
                  <a:pt x="6171936" y="1427400"/>
                  <a:pt x="6189985" y="1432546"/>
                </a:cubicBezTo>
                <a:cubicBezTo>
                  <a:pt x="6334380" y="1474343"/>
                  <a:pt x="6418609" y="1625071"/>
                  <a:pt x="6376812" y="1769466"/>
                </a:cubicBezTo>
                <a:cubicBezTo>
                  <a:pt x="6335013" y="1913860"/>
                  <a:pt x="6184285" y="1997457"/>
                  <a:pt x="6039891" y="1956292"/>
                </a:cubicBezTo>
                <a:cubicBezTo>
                  <a:pt x="5895497" y="1915127"/>
                  <a:pt x="5811267" y="1763766"/>
                  <a:pt x="5853065" y="1619371"/>
                </a:cubicBezTo>
                <a:cubicBezTo>
                  <a:pt x="5889638" y="1493026"/>
                  <a:pt x="6009611" y="1413229"/>
                  <a:pt x="6135766" y="1422832"/>
                </a:cubicBezTo>
                <a:close/>
                <a:moveTo>
                  <a:pt x="2659921" y="1097525"/>
                </a:moveTo>
                <a:cubicBezTo>
                  <a:pt x="3590252" y="1097525"/>
                  <a:pt x="4344523" y="1851796"/>
                  <a:pt x="4344523" y="2782127"/>
                </a:cubicBezTo>
                <a:cubicBezTo>
                  <a:pt x="4344523" y="3712458"/>
                  <a:pt x="3590252" y="4466729"/>
                  <a:pt x="2659921" y="4466729"/>
                </a:cubicBezTo>
                <a:cubicBezTo>
                  <a:pt x="1729590" y="4466729"/>
                  <a:pt x="975319" y="3712458"/>
                  <a:pt x="975319" y="2782127"/>
                </a:cubicBezTo>
                <a:cubicBezTo>
                  <a:pt x="975319" y="1851796"/>
                  <a:pt x="1729590" y="1097525"/>
                  <a:pt x="2659921" y="1097525"/>
                </a:cubicBezTo>
                <a:close/>
                <a:moveTo>
                  <a:pt x="1161512" y="462316"/>
                </a:moveTo>
                <a:cubicBezTo>
                  <a:pt x="1311606" y="454082"/>
                  <a:pt x="1439534" y="569978"/>
                  <a:pt x="1447767" y="720073"/>
                </a:cubicBezTo>
                <a:cubicBezTo>
                  <a:pt x="1455367" y="870167"/>
                  <a:pt x="1340105" y="998095"/>
                  <a:pt x="1190011" y="1006329"/>
                </a:cubicBezTo>
                <a:cubicBezTo>
                  <a:pt x="1039916" y="1013928"/>
                  <a:pt x="911355" y="898666"/>
                  <a:pt x="903755" y="748571"/>
                </a:cubicBezTo>
                <a:cubicBezTo>
                  <a:pt x="896155" y="598477"/>
                  <a:pt x="1011418" y="469916"/>
                  <a:pt x="1161512" y="462316"/>
                </a:cubicBezTo>
                <a:close/>
                <a:moveTo>
                  <a:pt x="2659921" y="0"/>
                </a:moveTo>
                <a:cubicBezTo>
                  <a:pt x="2953776" y="0"/>
                  <a:pt x="3243198" y="45599"/>
                  <a:pt x="3519321" y="135528"/>
                </a:cubicBezTo>
                <a:cubicBezTo>
                  <a:pt x="3797344" y="225458"/>
                  <a:pt x="4058267" y="359086"/>
                  <a:pt x="4295125" y="531346"/>
                </a:cubicBezTo>
                <a:cubicBezTo>
                  <a:pt x="4416720" y="620010"/>
                  <a:pt x="4443953" y="790370"/>
                  <a:pt x="4355289" y="911965"/>
                </a:cubicBezTo>
                <a:cubicBezTo>
                  <a:pt x="4302091" y="984796"/>
                  <a:pt x="4219128" y="1024061"/>
                  <a:pt x="4134898" y="1023427"/>
                </a:cubicBezTo>
                <a:cubicBezTo>
                  <a:pt x="4079166" y="1023427"/>
                  <a:pt x="4022802" y="1006962"/>
                  <a:pt x="3974670" y="971496"/>
                </a:cubicBezTo>
                <a:cubicBezTo>
                  <a:pt x="3784045" y="832802"/>
                  <a:pt x="3574419" y="725772"/>
                  <a:pt x="3351494" y="653575"/>
                </a:cubicBezTo>
                <a:cubicBezTo>
                  <a:pt x="3129203" y="581378"/>
                  <a:pt x="2896145" y="544646"/>
                  <a:pt x="2659921" y="544646"/>
                </a:cubicBezTo>
                <a:cubicBezTo>
                  <a:pt x="2423697" y="544646"/>
                  <a:pt x="2190639" y="581378"/>
                  <a:pt x="1968347" y="653575"/>
                </a:cubicBezTo>
                <a:cubicBezTo>
                  <a:pt x="1825220" y="700440"/>
                  <a:pt x="1671325" y="621910"/>
                  <a:pt x="1625094" y="478782"/>
                </a:cubicBezTo>
                <a:cubicBezTo>
                  <a:pt x="1578229" y="335654"/>
                  <a:pt x="1656760" y="181760"/>
                  <a:pt x="1799888" y="135528"/>
                </a:cubicBezTo>
                <a:cubicBezTo>
                  <a:pt x="2077277" y="45599"/>
                  <a:pt x="2366065" y="0"/>
                  <a:pt x="2659921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2C5D59D-EC81-384A-BD76-B7D351864B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580" y="778479"/>
            <a:ext cx="1368000" cy="448468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wrap="square" lIns="144000" tIns="36000" rIns="144000" bIns="36000" anchor="ctr">
            <a:no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marL="457189" indent="0">
              <a:buNone/>
              <a:defRPr b="1">
                <a:latin typeface="+mj-lt"/>
              </a:defRPr>
            </a:lvl2pPr>
            <a:lvl3pPr marL="914377" indent="0">
              <a:buNone/>
              <a:defRPr b="1">
                <a:latin typeface="+mj-lt"/>
              </a:defRPr>
            </a:lvl3pPr>
            <a:lvl4pPr marL="1371566" indent="0">
              <a:buNone/>
              <a:defRPr b="1">
                <a:latin typeface="+mj-lt"/>
              </a:defRPr>
            </a:lvl4pPr>
            <a:lvl5pPr marL="1828754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US" dirty="0"/>
              <a:t>Categor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0509" y="2380137"/>
            <a:ext cx="3620656" cy="1458641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985792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bg1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 dirty="0"/>
              <a:t>Name and Supporting Info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89DE017-894E-4194-9865-474D2EF26F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7349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 Callout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5D8BDADD-DC93-43A8-8DCB-3A9919B2478C}"/>
              </a:ext>
            </a:extLst>
          </p:cNvPr>
          <p:cNvGrpSpPr/>
          <p:nvPr userDrawn="1"/>
        </p:nvGrpSpPr>
        <p:grpSpPr>
          <a:xfrm>
            <a:off x="6409770" y="209239"/>
            <a:ext cx="7037583" cy="7199999"/>
            <a:chOff x="6409770" y="-171000"/>
            <a:chExt cx="7037583" cy="7199999"/>
          </a:xfrm>
        </p:grpSpPr>
        <p:sp>
          <p:nvSpPr>
            <p:cNvPr id="16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7267469" y="3175379"/>
              <a:ext cx="620352" cy="1226536"/>
            </a:xfrm>
            <a:custGeom>
              <a:avLst/>
              <a:gdLst>
                <a:gd name="connsiteX0" fmla="*/ 366341 w 620352"/>
                <a:gd name="connsiteY0" fmla="*/ 1226536 h 1226536"/>
                <a:gd name="connsiteX1" fmla="*/ 125401 w 620352"/>
                <a:gd name="connsiteY1" fmla="*/ 1051116 h 1226536"/>
                <a:gd name="connsiteX2" fmla="*/ 0 w 620352"/>
                <a:gd name="connsiteY2" fmla="*/ 253620 h 1226536"/>
                <a:gd name="connsiteX3" fmla="*/ 253620 w 620352"/>
                <a:gd name="connsiteY3" fmla="*/ 0 h 1226536"/>
                <a:gd name="connsiteX4" fmla="*/ 507241 w 620352"/>
                <a:gd name="connsiteY4" fmla="*/ 253620 h 1226536"/>
                <a:gd name="connsiteX5" fmla="*/ 607985 w 620352"/>
                <a:gd name="connsiteY5" fmla="*/ 894716 h 1226536"/>
                <a:gd name="connsiteX6" fmla="*/ 445245 w 620352"/>
                <a:gd name="connsiteY6" fmla="*/ 1214560 h 1226536"/>
                <a:gd name="connsiteX7" fmla="*/ 366341 w 620352"/>
                <a:gd name="connsiteY7" fmla="*/ 1226536 h 122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0352" h="1226536">
                  <a:moveTo>
                    <a:pt x="366341" y="1226536"/>
                  </a:moveTo>
                  <a:cubicBezTo>
                    <a:pt x="259256" y="1226536"/>
                    <a:pt x="159922" y="1158200"/>
                    <a:pt x="125401" y="1051116"/>
                  </a:cubicBezTo>
                  <a:cubicBezTo>
                    <a:pt x="42270" y="793973"/>
                    <a:pt x="0" y="526262"/>
                    <a:pt x="0" y="253620"/>
                  </a:cubicBezTo>
                  <a:cubicBezTo>
                    <a:pt x="0" y="113425"/>
                    <a:pt x="113425" y="0"/>
                    <a:pt x="253620" y="0"/>
                  </a:cubicBezTo>
                  <a:cubicBezTo>
                    <a:pt x="393816" y="0"/>
                    <a:pt x="507241" y="113425"/>
                    <a:pt x="507241" y="253620"/>
                  </a:cubicBezTo>
                  <a:cubicBezTo>
                    <a:pt x="507241" y="472720"/>
                    <a:pt x="541057" y="688298"/>
                    <a:pt x="607985" y="894716"/>
                  </a:cubicBezTo>
                  <a:cubicBezTo>
                    <a:pt x="650959" y="1027867"/>
                    <a:pt x="578395" y="1170881"/>
                    <a:pt x="445245" y="1214560"/>
                  </a:cubicBezTo>
                  <a:cubicBezTo>
                    <a:pt x="418474" y="1222309"/>
                    <a:pt x="392407" y="1226536"/>
                    <a:pt x="366341" y="1226536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8226221" y="5057732"/>
              <a:ext cx="1875455" cy="951150"/>
            </a:xfrm>
            <a:custGeom>
              <a:avLst/>
              <a:gdLst>
                <a:gd name="connsiteX0" fmla="*/ 1621131 w 1875455"/>
                <a:gd name="connsiteY0" fmla="*/ 951150 h 951150"/>
                <a:gd name="connsiteX1" fmla="*/ 823636 w 1875455"/>
                <a:gd name="connsiteY1" fmla="*/ 825749 h 951150"/>
                <a:gd name="connsiteX2" fmla="*/ 104340 w 1875455"/>
                <a:gd name="connsiteY2" fmla="*/ 458704 h 951150"/>
                <a:gd name="connsiteX3" fmla="*/ 48685 w 1875455"/>
                <a:gd name="connsiteY3" fmla="*/ 104340 h 951150"/>
                <a:gd name="connsiteX4" fmla="*/ 403049 w 1875455"/>
                <a:gd name="connsiteY4" fmla="*/ 48684 h 951150"/>
                <a:gd name="connsiteX5" fmla="*/ 980740 w 1875455"/>
                <a:gd name="connsiteY5" fmla="*/ 343166 h 951150"/>
                <a:gd name="connsiteX6" fmla="*/ 1621836 w 1875455"/>
                <a:gd name="connsiteY6" fmla="*/ 443910 h 951150"/>
                <a:gd name="connsiteX7" fmla="*/ 1875456 w 1875455"/>
                <a:gd name="connsiteY7" fmla="*/ 697530 h 951150"/>
                <a:gd name="connsiteX8" fmla="*/ 1621131 w 1875455"/>
                <a:gd name="connsiteY8" fmla="*/ 951150 h 95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5455" h="951150">
                  <a:moveTo>
                    <a:pt x="1621131" y="951150"/>
                  </a:moveTo>
                  <a:cubicBezTo>
                    <a:pt x="1348489" y="951150"/>
                    <a:pt x="1080779" y="908880"/>
                    <a:pt x="823636" y="825749"/>
                  </a:cubicBezTo>
                  <a:cubicBezTo>
                    <a:pt x="565788" y="741913"/>
                    <a:pt x="324144" y="618626"/>
                    <a:pt x="104340" y="458704"/>
                  </a:cubicBezTo>
                  <a:cubicBezTo>
                    <a:pt x="-9085" y="376277"/>
                    <a:pt x="-33742" y="217765"/>
                    <a:pt x="48685" y="104340"/>
                  </a:cubicBezTo>
                  <a:cubicBezTo>
                    <a:pt x="131111" y="-9084"/>
                    <a:pt x="289624" y="-33742"/>
                    <a:pt x="403049" y="48684"/>
                  </a:cubicBezTo>
                  <a:cubicBezTo>
                    <a:pt x="579878" y="176904"/>
                    <a:pt x="773616" y="276238"/>
                    <a:pt x="980740" y="343166"/>
                  </a:cubicBezTo>
                  <a:cubicBezTo>
                    <a:pt x="1187158" y="410094"/>
                    <a:pt x="1402736" y="443910"/>
                    <a:pt x="1621836" y="443910"/>
                  </a:cubicBezTo>
                  <a:cubicBezTo>
                    <a:pt x="1762031" y="443910"/>
                    <a:pt x="1875456" y="557334"/>
                    <a:pt x="1875456" y="697530"/>
                  </a:cubicBezTo>
                  <a:cubicBezTo>
                    <a:pt x="1875456" y="837725"/>
                    <a:pt x="1761327" y="951150"/>
                    <a:pt x="1621131" y="95115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10961095" y="3175379"/>
              <a:ext cx="1465436" cy="2389667"/>
            </a:xfrm>
            <a:custGeom>
              <a:avLst/>
              <a:gdLst>
                <a:gd name="connsiteX0" fmla="*/ 253694 w 1465436"/>
                <a:gd name="connsiteY0" fmla="*/ 2389668 h 2389667"/>
                <a:gd name="connsiteX1" fmla="*/ 48685 w 1465436"/>
                <a:gd name="connsiteY1" fmla="*/ 2285401 h 2389667"/>
                <a:gd name="connsiteX2" fmla="*/ 104340 w 1465436"/>
                <a:gd name="connsiteY2" fmla="*/ 1931037 h 2389667"/>
                <a:gd name="connsiteX3" fmla="*/ 562970 w 1465436"/>
                <a:gd name="connsiteY3" fmla="*/ 1472407 h 2389667"/>
                <a:gd name="connsiteX4" fmla="*/ 857452 w 1465436"/>
                <a:gd name="connsiteY4" fmla="*/ 894716 h 2389667"/>
                <a:gd name="connsiteX5" fmla="*/ 958195 w 1465436"/>
                <a:gd name="connsiteY5" fmla="*/ 253620 h 2389667"/>
                <a:gd name="connsiteX6" fmla="*/ 1211816 w 1465436"/>
                <a:gd name="connsiteY6" fmla="*/ 0 h 2389667"/>
                <a:gd name="connsiteX7" fmla="*/ 1465436 w 1465436"/>
                <a:gd name="connsiteY7" fmla="*/ 253620 h 2389667"/>
                <a:gd name="connsiteX8" fmla="*/ 1340035 w 1465436"/>
                <a:gd name="connsiteY8" fmla="*/ 1051116 h 2389667"/>
                <a:gd name="connsiteX9" fmla="*/ 972990 w 1465436"/>
                <a:gd name="connsiteY9" fmla="*/ 1770411 h 2389667"/>
                <a:gd name="connsiteX10" fmla="*/ 402344 w 1465436"/>
                <a:gd name="connsiteY10" fmla="*/ 2341057 h 2389667"/>
                <a:gd name="connsiteX11" fmla="*/ 253694 w 1465436"/>
                <a:gd name="connsiteY11" fmla="*/ 2389668 h 2389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5436" h="2389667">
                  <a:moveTo>
                    <a:pt x="253694" y="2389668"/>
                  </a:moveTo>
                  <a:cubicBezTo>
                    <a:pt x="175495" y="2389668"/>
                    <a:pt x="98000" y="2353738"/>
                    <a:pt x="48685" y="2285401"/>
                  </a:cubicBezTo>
                  <a:cubicBezTo>
                    <a:pt x="-33742" y="2171977"/>
                    <a:pt x="-9085" y="2013464"/>
                    <a:pt x="104340" y="1931037"/>
                  </a:cubicBezTo>
                  <a:cubicBezTo>
                    <a:pt x="280465" y="1802818"/>
                    <a:pt x="434751" y="1648532"/>
                    <a:pt x="562970" y="1472407"/>
                  </a:cubicBezTo>
                  <a:cubicBezTo>
                    <a:pt x="691189" y="1295578"/>
                    <a:pt x="790524" y="1101840"/>
                    <a:pt x="857452" y="894716"/>
                  </a:cubicBezTo>
                  <a:cubicBezTo>
                    <a:pt x="924379" y="688298"/>
                    <a:pt x="958195" y="472720"/>
                    <a:pt x="958195" y="253620"/>
                  </a:cubicBezTo>
                  <a:cubicBezTo>
                    <a:pt x="958195" y="113425"/>
                    <a:pt x="1071620" y="0"/>
                    <a:pt x="1211816" y="0"/>
                  </a:cubicBezTo>
                  <a:cubicBezTo>
                    <a:pt x="1352012" y="0"/>
                    <a:pt x="1465436" y="113425"/>
                    <a:pt x="1465436" y="253620"/>
                  </a:cubicBezTo>
                  <a:cubicBezTo>
                    <a:pt x="1465436" y="526262"/>
                    <a:pt x="1423166" y="793973"/>
                    <a:pt x="1340035" y="1051116"/>
                  </a:cubicBezTo>
                  <a:cubicBezTo>
                    <a:pt x="1256199" y="1308963"/>
                    <a:pt x="1132912" y="1550607"/>
                    <a:pt x="972990" y="1770411"/>
                  </a:cubicBezTo>
                  <a:cubicBezTo>
                    <a:pt x="813773" y="1989511"/>
                    <a:pt x="621444" y="2181840"/>
                    <a:pt x="402344" y="2341057"/>
                  </a:cubicBezTo>
                  <a:cubicBezTo>
                    <a:pt x="357960" y="2373464"/>
                    <a:pt x="305828" y="2389668"/>
                    <a:pt x="253694" y="2389668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10961095" y="1292879"/>
              <a:ext cx="1353107" cy="1670445"/>
            </a:xfrm>
            <a:custGeom>
              <a:avLst/>
              <a:gdLst>
                <a:gd name="connsiteX0" fmla="*/ 1099096 w 1353107"/>
                <a:gd name="connsiteY0" fmla="*/ 1670446 h 1670445"/>
                <a:gd name="connsiteX1" fmla="*/ 858156 w 1353107"/>
                <a:gd name="connsiteY1" fmla="*/ 1495025 h 1670445"/>
                <a:gd name="connsiteX2" fmla="*/ 563675 w 1353107"/>
                <a:gd name="connsiteY2" fmla="*/ 917334 h 1670445"/>
                <a:gd name="connsiteX3" fmla="*/ 343870 w 1353107"/>
                <a:gd name="connsiteY3" fmla="*/ 662305 h 1670445"/>
                <a:gd name="connsiteX4" fmla="*/ 104340 w 1353107"/>
                <a:gd name="connsiteY4" fmla="*/ 458704 h 1670445"/>
                <a:gd name="connsiteX5" fmla="*/ 48685 w 1353107"/>
                <a:gd name="connsiteY5" fmla="*/ 104340 h 1670445"/>
                <a:gd name="connsiteX6" fmla="*/ 403049 w 1353107"/>
                <a:gd name="connsiteY6" fmla="*/ 48685 h 1670445"/>
                <a:gd name="connsiteX7" fmla="*/ 701053 w 1353107"/>
                <a:gd name="connsiteY7" fmla="*/ 301600 h 1670445"/>
                <a:gd name="connsiteX8" fmla="*/ 973695 w 1353107"/>
                <a:gd name="connsiteY8" fmla="*/ 619330 h 1670445"/>
                <a:gd name="connsiteX9" fmla="*/ 1340739 w 1353107"/>
                <a:gd name="connsiteY9" fmla="*/ 1338626 h 1670445"/>
                <a:gd name="connsiteX10" fmla="*/ 1178000 w 1353107"/>
                <a:gd name="connsiteY10" fmla="*/ 1658469 h 1670445"/>
                <a:gd name="connsiteX11" fmla="*/ 1099096 w 1353107"/>
                <a:gd name="connsiteY11" fmla="*/ 1670446 h 167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53107" h="1670445">
                  <a:moveTo>
                    <a:pt x="1099096" y="1670446"/>
                  </a:moveTo>
                  <a:cubicBezTo>
                    <a:pt x="992011" y="1670446"/>
                    <a:pt x="892677" y="1602109"/>
                    <a:pt x="858156" y="1495025"/>
                  </a:cubicBezTo>
                  <a:cubicBezTo>
                    <a:pt x="791229" y="1288606"/>
                    <a:pt x="691894" y="1094164"/>
                    <a:pt x="563675" y="917334"/>
                  </a:cubicBezTo>
                  <a:cubicBezTo>
                    <a:pt x="497452" y="826454"/>
                    <a:pt x="424184" y="741209"/>
                    <a:pt x="343870" y="662305"/>
                  </a:cubicBezTo>
                  <a:cubicBezTo>
                    <a:pt x="269193" y="589037"/>
                    <a:pt x="188880" y="519996"/>
                    <a:pt x="104340" y="458704"/>
                  </a:cubicBezTo>
                  <a:cubicBezTo>
                    <a:pt x="-9085" y="376278"/>
                    <a:pt x="-33742" y="217765"/>
                    <a:pt x="48685" y="104340"/>
                  </a:cubicBezTo>
                  <a:cubicBezTo>
                    <a:pt x="131111" y="-9085"/>
                    <a:pt x="289624" y="-33742"/>
                    <a:pt x="403049" y="48685"/>
                  </a:cubicBezTo>
                  <a:cubicBezTo>
                    <a:pt x="508019" y="125475"/>
                    <a:pt x="608058" y="210015"/>
                    <a:pt x="701053" y="301600"/>
                  </a:cubicBezTo>
                  <a:cubicBezTo>
                    <a:pt x="800387" y="399526"/>
                    <a:pt x="891972" y="506610"/>
                    <a:pt x="973695" y="619330"/>
                  </a:cubicBezTo>
                  <a:cubicBezTo>
                    <a:pt x="1133616" y="839135"/>
                    <a:pt x="1256904" y="1081483"/>
                    <a:pt x="1340739" y="1338626"/>
                  </a:cubicBezTo>
                  <a:cubicBezTo>
                    <a:pt x="1383714" y="1471777"/>
                    <a:pt x="1311150" y="1614790"/>
                    <a:pt x="1178000" y="1658469"/>
                  </a:cubicBezTo>
                  <a:cubicBezTo>
                    <a:pt x="1151933" y="1666923"/>
                    <a:pt x="1125162" y="1670446"/>
                    <a:pt x="1099096" y="1670446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7711231" y="849117"/>
              <a:ext cx="2389741" cy="1466066"/>
            </a:xfrm>
            <a:custGeom>
              <a:avLst/>
              <a:gdLst>
                <a:gd name="connsiteX0" fmla="*/ 253694 w 2389741"/>
                <a:gd name="connsiteY0" fmla="*/ 1466067 h 1466066"/>
                <a:gd name="connsiteX1" fmla="*/ 104340 w 2389741"/>
                <a:gd name="connsiteY1" fmla="*/ 1417456 h 1466066"/>
                <a:gd name="connsiteX2" fmla="*/ 48685 w 2389741"/>
                <a:gd name="connsiteY2" fmla="*/ 1063092 h 1466066"/>
                <a:gd name="connsiteX3" fmla="*/ 619331 w 2389741"/>
                <a:gd name="connsiteY3" fmla="*/ 492446 h 1466066"/>
                <a:gd name="connsiteX4" fmla="*/ 1338626 w 2389741"/>
                <a:gd name="connsiteY4" fmla="*/ 125401 h 1466066"/>
                <a:gd name="connsiteX5" fmla="*/ 2136121 w 2389741"/>
                <a:gd name="connsiteY5" fmla="*/ 0 h 1466066"/>
                <a:gd name="connsiteX6" fmla="*/ 2389742 w 2389741"/>
                <a:gd name="connsiteY6" fmla="*/ 253620 h 1466066"/>
                <a:gd name="connsiteX7" fmla="*/ 2136121 w 2389741"/>
                <a:gd name="connsiteY7" fmla="*/ 507241 h 1466066"/>
                <a:gd name="connsiteX8" fmla="*/ 1495025 w 2389741"/>
                <a:gd name="connsiteY8" fmla="*/ 607984 h 1466066"/>
                <a:gd name="connsiteX9" fmla="*/ 917334 w 2389741"/>
                <a:gd name="connsiteY9" fmla="*/ 902466 h 1466066"/>
                <a:gd name="connsiteX10" fmla="*/ 458704 w 2389741"/>
                <a:gd name="connsiteY10" fmla="*/ 1361096 h 1466066"/>
                <a:gd name="connsiteX11" fmla="*/ 253694 w 2389741"/>
                <a:gd name="connsiteY11" fmla="*/ 1466067 h 1466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9741" h="1466066">
                  <a:moveTo>
                    <a:pt x="253694" y="1466067"/>
                  </a:moveTo>
                  <a:cubicBezTo>
                    <a:pt x="202266" y="1466067"/>
                    <a:pt x="149428" y="1450568"/>
                    <a:pt x="104340" y="1417456"/>
                  </a:cubicBezTo>
                  <a:cubicBezTo>
                    <a:pt x="-9085" y="1335029"/>
                    <a:pt x="-33742" y="1176517"/>
                    <a:pt x="48685" y="1063092"/>
                  </a:cubicBezTo>
                  <a:cubicBezTo>
                    <a:pt x="207902" y="843992"/>
                    <a:pt x="400231" y="651663"/>
                    <a:pt x="619331" y="492446"/>
                  </a:cubicBezTo>
                  <a:cubicBezTo>
                    <a:pt x="839135" y="332524"/>
                    <a:pt x="1081483" y="209237"/>
                    <a:pt x="1338626" y="125401"/>
                  </a:cubicBezTo>
                  <a:cubicBezTo>
                    <a:pt x="1595769" y="42270"/>
                    <a:pt x="1863480" y="0"/>
                    <a:pt x="2136121" y="0"/>
                  </a:cubicBezTo>
                  <a:cubicBezTo>
                    <a:pt x="2276317" y="0"/>
                    <a:pt x="2389742" y="113425"/>
                    <a:pt x="2389742" y="253620"/>
                  </a:cubicBezTo>
                  <a:cubicBezTo>
                    <a:pt x="2389742" y="393816"/>
                    <a:pt x="2276317" y="507241"/>
                    <a:pt x="2136121" y="507241"/>
                  </a:cubicBezTo>
                  <a:cubicBezTo>
                    <a:pt x="1917021" y="507241"/>
                    <a:pt x="1701444" y="541057"/>
                    <a:pt x="1495025" y="607984"/>
                  </a:cubicBezTo>
                  <a:cubicBezTo>
                    <a:pt x="1288607" y="674912"/>
                    <a:pt x="1094164" y="774247"/>
                    <a:pt x="917334" y="902466"/>
                  </a:cubicBezTo>
                  <a:cubicBezTo>
                    <a:pt x="741209" y="1030685"/>
                    <a:pt x="586923" y="1184971"/>
                    <a:pt x="458704" y="1361096"/>
                  </a:cubicBezTo>
                  <a:cubicBezTo>
                    <a:pt x="409389" y="1429433"/>
                    <a:pt x="331894" y="1466067"/>
                    <a:pt x="253694" y="1466067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6409770" y="4209900"/>
              <a:ext cx="1724309" cy="2180117"/>
            </a:xfrm>
            <a:custGeom>
              <a:avLst/>
              <a:gdLst>
                <a:gd name="connsiteX0" fmla="*/ 1469911 w 1724309"/>
                <a:gd name="connsiteY0" fmla="*/ 2180117 h 2180117"/>
                <a:gd name="connsiteX1" fmla="*/ 1320557 w 1724309"/>
                <a:gd name="connsiteY1" fmla="*/ 2131507 h 2180117"/>
                <a:gd name="connsiteX2" fmla="*/ 524470 w 1724309"/>
                <a:gd name="connsiteY2" fmla="*/ 1335421 h 2180117"/>
                <a:gd name="connsiteX3" fmla="*/ 12298 w 1724309"/>
                <a:gd name="connsiteY3" fmla="*/ 331507 h 2180117"/>
                <a:gd name="connsiteX4" fmla="*/ 175742 w 1724309"/>
                <a:gd name="connsiteY4" fmla="*/ 12367 h 2180117"/>
                <a:gd name="connsiteX5" fmla="*/ 495586 w 1724309"/>
                <a:gd name="connsiteY5" fmla="*/ 175107 h 2180117"/>
                <a:gd name="connsiteX6" fmla="*/ 935194 w 1724309"/>
                <a:gd name="connsiteY6" fmla="*/ 1036712 h 2180117"/>
                <a:gd name="connsiteX7" fmla="*/ 1619970 w 1724309"/>
                <a:gd name="connsiteY7" fmla="*/ 1721487 h 2180117"/>
                <a:gd name="connsiteX8" fmla="*/ 1675625 w 1724309"/>
                <a:gd name="connsiteY8" fmla="*/ 2075851 h 2180117"/>
                <a:gd name="connsiteX9" fmla="*/ 1469911 w 1724309"/>
                <a:gd name="connsiteY9" fmla="*/ 2180117 h 218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24309" h="2180117">
                  <a:moveTo>
                    <a:pt x="1469911" y="2180117"/>
                  </a:moveTo>
                  <a:cubicBezTo>
                    <a:pt x="1418482" y="2180117"/>
                    <a:pt x="1365645" y="2164618"/>
                    <a:pt x="1320557" y="2131507"/>
                  </a:cubicBezTo>
                  <a:cubicBezTo>
                    <a:pt x="1014803" y="1908884"/>
                    <a:pt x="747093" y="1641174"/>
                    <a:pt x="524470" y="1335421"/>
                  </a:cubicBezTo>
                  <a:cubicBezTo>
                    <a:pt x="301143" y="1028963"/>
                    <a:pt x="129245" y="690802"/>
                    <a:pt x="12298" y="331507"/>
                  </a:cubicBezTo>
                  <a:cubicBezTo>
                    <a:pt x="-30677" y="198356"/>
                    <a:pt x="42592" y="55342"/>
                    <a:pt x="175742" y="12367"/>
                  </a:cubicBezTo>
                  <a:cubicBezTo>
                    <a:pt x="308893" y="-30607"/>
                    <a:pt x="451907" y="41957"/>
                    <a:pt x="495586" y="175107"/>
                  </a:cubicBezTo>
                  <a:cubicBezTo>
                    <a:pt x="595625" y="483679"/>
                    <a:pt x="743570" y="773229"/>
                    <a:pt x="935194" y="1036712"/>
                  </a:cubicBezTo>
                  <a:cubicBezTo>
                    <a:pt x="1126819" y="1299491"/>
                    <a:pt x="1357191" y="1529863"/>
                    <a:pt x="1619970" y="1721487"/>
                  </a:cubicBezTo>
                  <a:cubicBezTo>
                    <a:pt x="1733394" y="1803914"/>
                    <a:pt x="1758052" y="1962427"/>
                    <a:pt x="1675625" y="2075851"/>
                  </a:cubicBezTo>
                  <a:cubicBezTo>
                    <a:pt x="1625606" y="2144188"/>
                    <a:pt x="1548815" y="2180117"/>
                    <a:pt x="1469911" y="2180117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8559570" y="6358361"/>
              <a:ext cx="1542106" cy="670638"/>
            </a:xfrm>
            <a:custGeom>
              <a:avLst/>
              <a:gdLst>
                <a:gd name="connsiteX0" fmla="*/ 1287782 w 1542106"/>
                <a:gd name="connsiteY0" fmla="*/ 670639 h 670638"/>
                <a:gd name="connsiteX1" fmla="*/ 175375 w 1542106"/>
                <a:gd name="connsiteY1" fmla="*/ 495218 h 670638"/>
                <a:gd name="connsiteX2" fmla="*/ 12635 w 1542106"/>
                <a:gd name="connsiteY2" fmla="*/ 175375 h 670638"/>
                <a:gd name="connsiteX3" fmla="*/ 332478 w 1542106"/>
                <a:gd name="connsiteY3" fmla="*/ 12635 h 670638"/>
                <a:gd name="connsiteX4" fmla="*/ 1288487 w 1542106"/>
                <a:gd name="connsiteY4" fmla="*/ 163398 h 670638"/>
                <a:gd name="connsiteX5" fmla="*/ 1542107 w 1542106"/>
                <a:gd name="connsiteY5" fmla="*/ 417019 h 670638"/>
                <a:gd name="connsiteX6" fmla="*/ 1287782 w 1542106"/>
                <a:gd name="connsiteY6" fmla="*/ 670639 h 67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2106" h="670638">
                  <a:moveTo>
                    <a:pt x="1287782" y="670639"/>
                  </a:moveTo>
                  <a:cubicBezTo>
                    <a:pt x="908056" y="670639"/>
                    <a:pt x="533261" y="611461"/>
                    <a:pt x="175375" y="495218"/>
                  </a:cubicBezTo>
                  <a:cubicBezTo>
                    <a:pt x="42224" y="452244"/>
                    <a:pt x="-31044" y="309230"/>
                    <a:pt x="12635" y="175375"/>
                  </a:cubicBezTo>
                  <a:cubicBezTo>
                    <a:pt x="55610" y="42224"/>
                    <a:pt x="198623" y="-31044"/>
                    <a:pt x="332478" y="12635"/>
                  </a:cubicBezTo>
                  <a:cubicBezTo>
                    <a:pt x="640346" y="112674"/>
                    <a:pt x="961598" y="163398"/>
                    <a:pt x="1288487" y="163398"/>
                  </a:cubicBezTo>
                  <a:cubicBezTo>
                    <a:pt x="1428682" y="163398"/>
                    <a:pt x="1542107" y="276823"/>
                    <a:pt x="1542107" y="417019"/>
                  </a:cubicBezTo>
                  <a:cubicBezTo>
                    <a:pt x="1542107" y="557215"/>
                    <a:pt x="1427978" y="670639"/>
                    <a:pt x="1287782" y="670639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11560625" y="467908"/>
              <a:ext cx="1886728" cy="5181678"/>
            </a:xfrm>
            <a:custGeom>
              <a:avLst/>
              <a:gdLst>
                <a:gd name="connsiteX0" fmla="*/ 994125 w 1886728"/>
                <a:gd name="connsiteY0" fmla="*/ 5181679 h 5181678"/>
                <a:gd name="connsiteX1" fmla="*/ 844771 w 1886728"/>
                <a:gd name="connsiteY1" fmla="*/ 5133068 h 5181678"/>
                <a:gd name="connsiteX2" fmla="*/ 789115 w 1886728"/>
                <a:gd name="connsiteY2" fmla="*/ 4778704 h 5181678"/>
                <a:gd name="connsiteX3" fmla="*/ 1228724 w 1886728"/>
                <a:gd name="connsiteY3" fmla="*/ 3917100 h 5181678"/>
                <a:gd name="connsiteX4" fmla="*/ 1379487 w 1886728"/>
                <a:gd name="connsiteY4" fmla="*/ 2961092 h 5181678"/>
                <a:gd name="connsiteX5" fmla="*/ 1228724 w 1886728"/>
                <a:gd name="connsiteY5" fmla="*/ 2005084 h 5181678"/>
                <a:gd name="connsiteX6" fmla="*/ 789115 w 1886728"/>
                <a:gd name="connsiteY6" fmla="*/ 1143479 h 5181678"/>
                <a:gd name="connsiteX7" fmla="*/ 104340 w 1886728"/>
                <a:gd name="connsiteY7" fmla="*/ 458704 h 5181678"/>
                <a:gd name="connsiteX8" fmla="*/ 48685 w 1886728"/>
                <a:gd name="connsiteY8" fmla="*/ 104340 h 5181678"/>
                <a:gd name="connsiteX9" fmla="*/ 403049 w 1886728"/>
                <a:gd name="connsiteY9" fmla="*/ 48685 h 5181678"/>
                <a:gd name="connsiteX10" fmla="*/ 1199135 w 1886728"/>
                <a:gd name="connsiteY10" fmla="*/ 844771 h 5181678"/>
                <a:gd name="connsiteX11" fmla="*/ 1711307 w 1886728"/>
                <a:gd name="connsiteY11" fmla="*/ 1848685 h 5181678"/>
                <a:gd name="connsiteX12" fmla="*/ 1886728 w 1886728"/>
                <a:gd name="connsiteY12" fmla="*/ 2961092 h 5181678"/>
                <a:gd name="connsiteX13" fmla="*/ 1711307 w 1886728"/>
                <a:gd name="connsiteY13" fmla="*/ 4073499 h 5181678"/>
                <a:gd name="connsiteX14" fmla="*/ 1199135 w 1886728"/>
                <a:gd name="connsiteY14" fmla="*/ 5077413 h 5181678"/>
                <a:gd name="connsiteX15" fmla="*/ 994125 w 1886728"/>
                <a:gd name="connsiteY15" fmla="*/ 5181679 h 5181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6728" h="5181678">
                  <a:moveTo>
                    <a:pt x="994125" y="5181679"/>
                  </a:moveTo>
                  <a:cubicBezTo>
                    <a:pt x="942697" y="5181679"/>
                    <a:pt x="889859" y="5166180"/>
                    <a:pt x="844771" y="5133068"/>
                  </a:cubicBezTo>
                  <a:cubicBezTo>
                    <a:pt x="731346" y="5050642"/>
                    <a:pt x="706689" y="4892129"/>
                    <a:pt x="789115" y="4778704"/>
                  </a:cubicBezTo>
                  <a:cubicBezTo>
                    <a:pt x="980740" y="4515221"/>
                    <a:pt x="1128685" y="4225671"/>
                    <a:pt x="1228724" y="3917100"/>
                  </a:cubicBezTo>
                  <a:cubicBezTo>
                    <a:pt x="1328763" y="3609233"/>
                    <a:pt x="1379487" y="3287980"/>
                    <a:pt x="1379487" y="2961092"/>
                  </a:cubicBezTo>
                  <a:cubicBezTo>
                    <a:pt x="1379487" y="2634203"/>
                    <a:pt x="1328763" y="2312951"/>
                    <a:pt x="1228724" y="2005084"/>
                  </a:cubicBezTo>
                  <a:cubicBezTo>
                    <a:pt x="1128685" y="1696512"/>
                    <a:pt x="980740" y="1406962"/>
                    <a:pt x="789115" y="1143479"/>
                  </a:cubicBezTo>
                  <a:cubicBezTo>
                    <a:pt x="597491" y="880700"/>
                    <a:pt x="367119" y="650328"/>
                    <a:pt x="104340" y="458704"/>
                  </a:cubicBezTo>
                  <a:cubicBezTo>
                    <a:pt x="-9085" y="376278"/>
                    <a:pt x="-33742" y="217765"/>
                    <a:pt x="48685" y="104340"/>
                  </a:cubicBezTo>
                  <a:cubicBezTo>
                    <a:pt x="131111" y="-9085"/>
                    <a:pt x="289624" y="-33742"/>
                    <a:pt x="403049" y="48685"/>
                  </a:cubicBezTo>
                  <a:cubicBezTo>
                    <a:pt x="708802" y="271307"/>
                    <a:pt x="976513" y="539017"/>
                    <a:pt x="1199135" y="844771"/>
                  </a:cubicBezTo>
                  <a:cubicBezTo>
                    <a:pt x="1422462" y="1151229"/>
                    <a:pt x="1594360" y="1489389"/>
                    <a:pt x="1711307" y="1848685"/>
                  </a:cubicBezTo>
                  <a:cubicBezTo>
                    <a:pt x="1827550" y="2207276"/>
                    <a:pt x="1886728" y="2581366"/>
                    <a:pt x="1886728" y="2961092"/>
                  </a:cubicBezTo>
                  <a:cubicBezTo>
                    <a:pt x="1886728" y="3340818"/>
                    <a:pt x="1827550" y="3715612"/>
                    <a:pt x="1711307" y="4073499"/>
                  </a:cubicBezTo>
                  <a:cubicBezTo>
                    <a:pt x="1594360" y="4432795"/>
                    <a:pt x="1422462" y="4770250"/>
                    <a:pt x="1199135" y="5077413"/>
                  </a:cubicBezTo>
                  <a:cubicBezTo>
                    <a:pt x="1149820" y="5145749"/>
                    <a:pt x="1072325" y="5181679"/>
                    <a:pt x="994125" y="5181679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9593732" y="-171000"/>
              <a:ext cx="1541402" cy="669980"/>
            </a:xfrm>
            <a:custGeom>
              <a:avLst/>
              <a:gdLst>
                <a:gd name="connsiteX0" fmla="*/ 1287828 w 1541402"/>
                <a:gd name="connsiteY0" fmla="*/ 669980 h 669980"/>
                <a:gd name="connsiteX1" fmla="*/ 1209628 w 1541402"/>
                <a:gd name="connsiteY1" fmla="*/ 657299 h 669980"/>
                <a:gd name="connsiteX2" fmla="*/ 253620 w 1541402"/>
                <a:gd name="connsiteY2" fmla="*/ 507241 h 669980"/>
                <a:gd name="connsiteX3" fmla="*/ 0 w 1541402"/>
                <a:gd name="connsiteY3" fmla="*/ 253620 h 669980"/>
                <a:gd name="connsiteX4" fmla="*/ 253620 w 1541402"/>
                <a:gd name="connsiteY4" fmla="*/ 0 h 669980"/>
                <a:gd name="connsiteX5" fmla="*/ 1366028 w 1541402"/>
                <a:gd name="connsiteY5" fmla="*/ 175421 h 669980"/>
                <a:gd name="connsiteX6" fmla="*/ 1528768 w 1541402"/>
                <a:gd name="connsiteY6" fmla="*/ 495264 h 669980"/>
                <a:gd name="connsiteX7" fmla="*/ 1287828 w 1541402"/>
                <a:gd name="connsiteY7" fmla="*/ 669980 h 669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1402" h="669980">
                  <a:moveTo>
                    <a:pt x="1287828" y="669980"/>
                  </a:moveTo>
                  <a:cubicBezTo>
                    <a:pt x="1261762" y="669980"/>
                    <a:pt x="1235695" y="665753"/>
                    <a:pt x="1209628" y="657299"/>
                  </a:cubicBezTo>
                  <a:cubicBezTo>
                    <a:pt x="901762" y="557965"/>
                    <a:pt x="580509" y="507241"/>
                    <a:pt x="253620" y="507241"/>
                  </a:cubicBezTo>
                  <a:cubicBezTo>
                    <a:pt x="113425" y="507241"/>
                    <a:pt x="0" y="393816"/>
                    <a:pt x="0" y="253620"/>
                  </a:cubicBezTo>
                  <a:cubicBezTo>
                    <a:pt x="0" y="113425"/>
                    <a:pt x="113425" y="0"/>
                    <a:pt x="253620" y="0"/>
                  </a:cubicBezTo>
                  <a:cubicBezTo>
                    <a:pt x="633346" y="0"/>
                    <a:pt x="1008141" y="59178"/>
                    <a:pt x="1366028" y="175421"/>
                  </a:cubicBezTo>
                  <a:cubicBezTo>
                    <a:pt x="1499179" y="218395"/>
                    <a:pt x="1572446" y="361409"/>
                    <a:pt x="1528768" y="495264"/>
                  </a:cubicBezTo>
                  <a:cubicBezTo>
                    <a:pt x="1494247" y="602348"/>
                    <a:pt x="1394912" y="669980"/>
                    <a:pt x="1287828" y="66998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6410137" y="467908"/>
              <a:ext cx="1723942" cy="2180504"/>
            </a:xfrm>
            <a:custGeom>
              <a:avLst/>
              <a:gdLst>
                <a:gd name="connsiteX0" fmla="*/ 253574 w 1723942"/>
                <a:gd name="connsiteY0" fmla="*/ 2180505 h 2180504"/>
                <a:gd name="connsiteX1" fmla="*/ 175375 w 1723942"/>
                <a:gd name="connsiteY1" fmla="*/ 2167824 h 2180504"/>
                <a:gd name="connsiteX2" fmla="*/ 12635 w 1723942"/>
                <a:gd name="connsiteY2" fmla="*/ 1848685 h 2180504"/>
                <a:gd name="connsiteX3" fmla="*/ 524807 w 1723942"/>
                <a:gd name="connsiteY3" fmla="*/ 844771 h 2180504"/>
                <a:gd name="connsiteX4" fmla="*/ 1320894 w 1723942"/>
                <a:gd name="connsiteY4" fmla="*/ 48685 h 2180504"/>
                <a:gd name="connsiteX5" fmla="*/ 1675258 w 1723942"/>
                <a:gd name="connsiteY5" fmla="*/ 104340 h 2180504"/>
                <a:gd name="connsiteX6" fmla="*/ 1619602 w 1723942"/>
                <a:gd name="connsiteY6" fmla="*/ 458704 h 2180504"/>
                <a:gd name="connsiteX7" fmla="*/ 934827 w 1723942"/>
                <a:gd name="connsiteY7" fmla="*/ 1143479 h 2180504"/>
                <a:gd name="connsiteX8" fmla="*/ 495218 w 1723942"/>
                <a:gd name="connsiteY8" fmla="*/ 2005084 h 2180504"/>
                <a:gd name="connsiteX9" fmla="*/ 253574 w 1723942"/>
                <a:gd name="connsiteY9" fmla="*/ 2180505 h 218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23942" h="2180504">
                  <a:moveTo>
                    <a:pt x="253574" y="2180505"/>
                  </a:moveTo>
                  <a:cubicBezTo>
                    <a:pt x="227508" y="2180505"/>
                    <a:pt x="201441" y="2176278"/>
                    <a:pt x="175375" y="2167824"/>
                  </a:cubicBezTo>
                  <a:cubicBezTo>
                    <a:pt x="42224" y="2124849"/>
                    <a:pt x="-31044" y="1981835"/>
                    <a:pt x="12635" y="1848685"/>
                  </a:cubicBezTo>
                  <a:cubicBezTo>
                    <a:pt x="129582" y="1489389"/>
                    <a:pt x="301481" y="1151933"/>
                    <a:pt x="524807" y="844771"/>
                  </a:cubicBezTo>
                  <a:cubicBezTo>
                    <a:pt x="747430" y="539017"/>
                    <a:pt x="1015140" y="271307"/>
                    <a:pt x="1320894" y="48685"/>
                  </a:cubicBezTo>
                  <a:cubicBezTo>
                    <a:pt x="1434318" y="-33742"/>
                    <a:pt x="1592831" y="-9085"/>
                    <a:pt x="1675258" y="104340"/>
                  </a:cubicBezTo>
                  <a:cubicBezTo>
                    <a:pt x="1757684" y="217765"/>
                    <a:pt x="1733027" y="376278"/>
                    <a:pt x="1619602" y="458704"/>
                  </a:cubicBezTo>
                  <a:cubicBezTo>
                    <a:pt x="1356823" y="650328"/>
                    <a:pt x="1126451" y="880700"/>
                    <a:pt x="934827" y="1143479"/>
                  </a:cubicBezTo>
                  <a:cubicBezTo>
                    <a:pt x="743203" y="1406962"/>
                    <a:pt x="595257" y="1696512"/>
                    <a:pt x="495218" y="2005084"/>
                  </a:cubicBezTo>
                  <a:cubicBezTo>
                    <a:pt x="459993" y="2112168"/>
                    <a:pt x="360659" y="2180505"/>
                    <a:pt x="253574" y="21805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10317959" y="963246"/>
              <a:ext cx="507240" cy="507240"/>
            </a:xfrm>
            <a:custGeom>
              <a:avLst/>
              <a:gdLst>
                <a:gd name="connsiteX0" fmla="*/ 507241 w 507240"/>
                <a:gd name="connsiteY0" fmla="*/ 253620 h 507240"/>
                <a:gd name="connsiteX1" fmla="*/ 253620 w 507240"/>
                <a:gd name="connsiteY1" fmla="*/ 507241 h 507240"/>
                <a:gd name="connsiteX2" fmla="*/ 0 w 507240"/>
                <a:gd name="connsiteY2" fmla="*/ 253620 h 507240"/>
                <a:gd name="connsiteX3" fmla="*/ 253620 w 507240"/>
                <a:gd name="connsiteY3" fmla="*/ 0 h 507240"/>
                <a:gd name="connsiteX4" fmla="*/ 507241 w 507240"/>
                <a:gd name="connsiteY4" fmla="*/ 253620 h 50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7240" h="507240">
                  <a:moveTo>
                    <a:pt x="507241" y="253620"/>
                  </a:moveTo>
                  <a:cubicBezTo>
                    <a:pt x="507241" y="393691"/>
                    <a:pt x="393691" y="507241"/>
                    <a:pt x="253620" y="507241"/>
                  </a:cubicBezTo>
                  <a:cubicBezTo>
                    <a:pt x="113550" y="507241"/>
                    <a:pt x="0" y="393691"/>
                    <a:pt x="0" y="253620"/>
                  </a:cubicBezTo>
                  <a:cubicBezTo>
                    <a:pt x="0" y="113550"/>
                    <a:pt x="113550" y="0"/>
                    <a:pt x="253620" y="0"/>
                  </a:cubicBezTo>
                  <a:cubicBezTo>
                    <a:pt x="393691" y="0"/>
                    <a:pt x="507241" y="113550"/>
                    <a:pt x="507241" y="25362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7718350" y="4542111"/>
              <a:ext cx="507240" cy="507240"/>
            </a:xfrm>
            <a:custGeom>
              <a:avLst/>
              <a:gdLst>
                <a:gd name="connsiteX0" fmla="*/ 507241 w 507240"/>
                <a:gd name="connsiteY0" fmla="*/ 253620 h 507240"/>
                <a:gd name="connsiteX1" fmla="*/ 253620 w 507240"/>
                <a:gd name="connsiteY1" fmla="*/ 507241 h 507240"/>
                <a:gd name="connsiteX2" fmla="*/ 0 w 507240"/>
                <a:gd name="connsiteY2" fmla="*/ 253620 h 507240"/>
                <a:gd name="connsiteX3" fmla="*/ 253620 w 507240"/>
                <a:gd name="connsiteY3" fmla="*/ 0 h 507240"/>
                <a:gd name="connsiteX4" fmla="*/ 507241 w 507240"/>
                <a:gd name="connsiteY4" fmla="*/ 253620 h 50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7240" h="507240">
                  <a:moveTo>
                    <a:pt x="507241" y="253620"/>
                  </a:moveTo>
                  <a:cubicBezTo>
                    <a:pt x="507241" y="393691"/>
                    <a:pt x="393691" y="507241"/>
                    <a:pt x="253620" y="507241"/>
                  </a:cubicBezTo>
                  <a:cubicBezTo>
                    <a:pt x="113550" y="507241"/>
                    <a:pt x="0" y="393691"/>
                    <a:pt x="0" y="253620"/>
                  </a:cubicBezTo>
                  <a:cubicBezTo>
                    <a:pt x="0" y="113550"/>
                    <a:pt x="113550" y="0"/>
                    <a:pt x="253620" y="0"/>
                  </a:cubicBezTo>
                  <a:cubicBezTo>
                    <a:pt x="393691" y="0"/>
                    <a:pt x="507241" y="113550"/>
                    <a:pt x="507241" y="25362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7377372" y="2457493"/>
              <a:ext cx="507240" cy="507240"/>
            </a:xfrm>
            <a:custGeom>
              <a:avLst/>
              <a:gdLst>
                <a:gd name="connsiteX0" fmla="*/ 507241 w 507240"/>
                <a:gd name="connsiteY0" fmla="*/ 253620 h 507240"/>
                <a:gd name="connsiteX1" fmla="*/ 253620 w 507240"/>
                <a:gd name="connsiteY1" fmla="*/ 507241 h 507240"/>
                <a:gd name="connsiteX2" fmla="*/ 0 w 507240"/>
                <a:gd name="connsiteY2" fmla="*/ 253620 h 507240"/>
                <a:gd name="connsiteX3" fmla="*/ 253620 w 507240"/>
                <a:gd name="connsiteY3" fmla="*/ 0 h 507240"/>
                <a:gd name="connsiteX4" fmla="*/ 507241 w 507240"/>
                <a:gd name="connsiteY4" fmla="*/ 253620 h 50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7240" h="507240">
                  <a:moveTo>
                    <a:pt x="507241" y="253620"/>
                  </a:moveTo>
                  <a:cubicBezTo>
                    <a:pt x="507241" y="393691"/>
                    <a:pt x="393691" y="507241"/>
                    <a:pt x="253620" y="507241"/>
                  </a:cubicBezTo>
                  <a:cubicBezTo>
                    <a:pt x="113550" y="507241"/>
                    <a:pt x="0" y="393691"/>
                    <a:pt x="0" y="253620"/>
                  </a:cubicBezTo>
                  <a:cubicBezTo>
                    <a:pt x="0" y="113550"/>
                    <a:pt x="113550" y="0"/>
                    <a:pt x="253620" y="0"/>
                  </a:cubicBezTo>
                  <a:cubicBezTo>
                    <a:pt x="393691" y="0"/>
                    <a:pt x="507241" y="113550"/>
                    <a:pt x="507241" y="25362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Graphic 13">
              <a:extLst>
                <a:ext uri="{FF2B5EF4-FFF2-40B4-BE49-F238E27FC236}">
                  <a16:creationId xmlns:a16="http://schemas.microsoft.com/office/drawing/2014/main" id="{B492809C-3793-4C2A-987F-A6080C2504A2}"/>
                </a:ext>
              </a:extLst>
            </p:cNvPr>
            <p:cNvSpPr/>
            <p:nvPr/>
          </p:nvSpPr>
          <p:spPr>
            <a:xfrm>
              <a:off x="8563047" y="-8964"/>
              <a:ext cx="507240" cy="507240"/>
            </a:xfrm>
            <a:custGeom>
              <a:avLst/>
              <a:gdLst>
                <a:gd name="connsiteX0" fmla="*/ 507241 w 507240"/>
                <a:gd name="connsiteY0" fmla="*/ 253620 h 507240"/>
                <a:gd name="connsiteX1" fmla="*/ 253620 w 507240"/>
                <a:gd name="connsiteY1" fmla="*/ 507241 h 507240"/>
                <a:gd name="connsiteX2" fmla="*/ 0 w 507240"/>
                <a:gd name="connsiteY2" fmla="*/ 253620 h 507240"/>
                <a:gd name="connsiteX3" fmla="*/ 253620 w 507240"/>
                <a:gd name="connsiteY3" fmla="*/ 0 h 507240"/>
                <a:gd name="connsiteX4" fmla="*/ 507241 w 507240"/>
                <a:gd name="connsiteY4" fmla="*/ 253620 h 50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7240" h="507240">
                  <a:moveTo>
                    <a:pt x="507241" y="253620"/>
                  </a:moveTo>
                  <a:cubicBezTo>
                    <a:pt x="507241" y="393691"/>
                    <a:pt x="393691" y="507241"/>
                    <a:pt x="253620" y="507241"/>
                  </a:cubicBezTo>
                  <a:cubicBezTo>
                    <a:pt x="113550" y="507241"/>
                    <a:pt x="0" y="393691"/>
                    <a:pt x="0" y="253620"/>
                  </a:cubicBezTo>
                  <a:cubicBezTo>
                    <a:pt x="0" y="113550"/>
                    <a:pt x="113550" y="0"/>
                    <a:pt x="253620" y="0"/>
                  </a:cubicBezTo>
                  <a:cubicBezTo>
                    <a:pt x="393691" y="0"/>
                    <a:pt x="507241" y="113550"/>
                    <a:pt x="507241" y="25362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5" name="Graphic 13">
            <a:extLst>
              <a:ext uri="{FF2B5EF4-FFF2-40B4-BE49-F238E27FC236}">
                <a16:creationId xmlns:a16="http://schemas.microsoft.com/office/drawing/2014/main" id="{B492809C-3793-4C2A-987F-A6080C2504A2}"/>
              </a:ext>
            </a:extLst>
          </p:cNvPr>
          <p:cNvSpPr/>
          <p:nvPr/>
        </p:nvSpPr>
        <p:spPr>
          <a:xfrm>
            <a:off x="8285473" y="2247360"/>
            <a:ext cx="3123757" cy="3123757"/>
          </a:xfrm>
          <a:custGeom>
            <a:avLst/>
            <a:gdLst>
              <a:gd name="connsiteX0" fmla="*/ 3123758 w 3123757"/>
              <a:gd name="connsiteY0" fmla="*/ 1561879 h 3123757"/>
              <a:gd name="connsiteX1" fmla="*/ 1561879 w 3123757"/>
              <a:gd name="connsiteY1" fmla="*/ 3123758 h 3123757"/>
              <a:gd name="connsiteX2" fmla="*/ 0 w 3123757"/>
              <a:gd name="connsiteY2" fmla="*/ 1561879 h 3123757"/>
              <a:gd name="connsiteX3" fmla="*/ 1561879 w 3123757"/>
              <a:gd name="connsiteY3" fmla="*/ 0 h 3123757"/>
              <a:gd name="connsiteX4" fmla="*/ 3123758 w 3123757"/>
              <a:gd name="connsiteY4" fmla="*/ 1561879 h 312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3757" h="3123757">
                <a:moveTo>
                  <a:pt x="3123758" y="1561879"/>
                </a:moveTo>
                <a:cubicBezTo>
                  <a:pt x="3123758" y="2424481"/>
                  <a:pt x="2424481" y="3123758"/>
                  <a:pt x="1561879" y="3123758"/>
                </a:cubicBezTo>
                <a:cubicBezTo>
                  <a:pt x="699277" y="3123758"/>
                  <a:pt x="0" y="2424481"/>
                  <a:pt x="0" y="1561879"/>
                </a:cubicBezTo>
                <a:cubicBezTo>
                  <a:pt x="0" y="699277"/>
                  <a:pt x="699277" y="0"/>
                  <a:pt x="1561879" y="0"/>
                </a:cubicBezTo>
                <a:cubicBezTo>
                  <a:pt x="2424481" y="0"/>
                  <a:pt x="3123758" y="699277"/>
                  <a:pt x="3123758" y="1561879"/>
                </a:cubicBezTo>
                <a:close/>
              </a:path>
            </a:pathLst>
          </a:custGeom>
          <a:solidFill>
            <a:schemeClr val="bg1"/>
          </a:solidFill>
          <a:ln w="703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B7AF8B-4C0D-448F-934D-760AF204C71C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1987" y="1425568"/>
            <a:ext cx="5400000" cy="488955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>
            <p:ph type="chart" sz="quarter" idx="29"/>
          </p:nvPr>
        </p:nvSpPr>
        <p:spPr>
          <a:xfrm>
            <a:off x="992188" y="1924046"/>
            <a:ext cx="5400000" cy="3936347"/>
          </a:xfrm>
        </p:spPr>
        <p:txBody>
          <a:bodyPr anchor="ctr">
            <a:normAutofit/>
          </a:bodyPr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46214-B998-47A4-9A3D-E1277D43D3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48815" y="2942963"/>
            <a:ext cx="1997075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tx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31A405-9556-48CE-8FA1-466D74FB4A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55127" y="3845398"/>
            <a:ext cx="2584450" cy="893643"/>
          </a:xfr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2FABA672-7054-46D6-8734-1C46875CE0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1F61A2A-1A65-44A9-AABF-FDBCE2803C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744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 Callout 2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24EBF9AC-82E8-4903-B7AE-A36C0F2D943B}"/>
              </a:ext>
            </a:extLst>
          </p:cNvPr>
          <p:cNvGrpSpPr/>
          <p:nvPr userDrawn="1"/>
        </p:nvGrpSpPr>
        <p:grpSpPr>
          <a:xfrm>
            <a:off x="6683353" y="-407106"/>
            <a:ext cx="5619906" cy="7155830"/>
            <a:chOff x="6683353" y="-407106"/>
            <a:chExt cx="5619906" cy="7155830"/>
          </a:xfrm>
        </p:grpSpPr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BDE62498-37A6-4FAF-9166-D9F8C8F75A3F}"/>
                </a:ext>
              </a:extLst>
            </p:cNvPr>
            <p:cNvSpPr/>
            <p:nvPr/>
          </p:nvSpPr>
          <p:spPr>
            <a:xfrm>
              <a:off x="9501748" y="5779377"/>
              <a:ext cx="1253360" cy="361194"/>
            </a:xfrm>
            <a:custGeom>
              <a:avLst/>
              <a:gdLst>
                <a:gd name="connsiteX0" fmla="*/ 587118 w 1173982"/>
                <a:gd name="connsiteY0" fmla="*/ 338320 h 338319"/>
                <a:gd name="connsiteX1" fmla="*/ 92189 w 1173982"/>
                <a:gd name="connsiteY1" fmla="*/ 260279 h 338319"/>
                <a:gd name="connsiteX2" fmla="*/ 6810 w 1173982"/>
                <a:gd name="connsiteY2" fmla="*/ 92188 h 338319"/>
                <a:gd name="connsiteX3" fmla="*/ 174899 w 1173982"/>
                <a:gd name="connsiteY3" fmla="*/ 6810 h 338319"/>
                <a:gd name="connsiteX4" fmla="*/ 587118 w 1173982"/>
                <a:gd name="connsiteY4" fmla="*/ 71511 h 338319"/>
                <a:gd name="connsiteX5" fmla="*/ 999338 w 1173982"/>
                <a:gd name="connsiteY5" fmla="*/ 6810 h 338319"/>
                <a:gd name="connsiteX6" fmla="*/ 1167427 w 1173982"/>
                <a:gd name="connsiteY6" fmla="*/ 92188 h 338319"/>
                <a:gd name="connsiteX7" fmla="*/ 1082048 w 1173982"/>
                <a:gd name="connsiteY7" fmla="*/ 260279 h 338319"/>
                <a:gd name="connsiteX8" fmla="*/ 587118 w 1173982"/>
                <a:gd name="connsiteY8" fmla="*/ 338320 h 33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3982" h="338319">
                  <a:moveTo>
                    <a:pt x="587118" y="338320"/>
                  </a:moveTo>
                  <a:cubicBezTo>
                    <a:pt x="418362" y="338320"/>
                    <a:pt x="251607" y="312306"/>
                    <a:pt x="92189" y="260279"/>
                  </a:cubicBezTo>
                  <a:cubicBezTo>
                    <a:pt x="22152" y="237600"/>
                    <a:pt x="-16536" y="162226"/>
                    <a:pt x="6810" y="92188"/>
                  </a:cubicBezTo>
                  <a:cubicBezTo>
                    <a:pt x="29489" y="22151"/>
                    <a:pt x="104862" y="-16536"/>
                    <a:pt x="174899" y="6810"/>
                  </a:cubicBezTo>
                  <a:cubicBezTo>
                    <a:pt x="307637" y="50166"/>
                    <a:pt x="446377" y="71511"/>
                    <a:pt x="587118" y="71511"/>
                  </a:cubicBezTo>
                  <a:cubicBezTo>
                    <a:pt x="727860" y="71511"/>
                    <a:pt x="866600" y="49499"/>
                    <a:pt x="999338" y="6810"/>
                  </a:cubicBezTo>
                  <a:cubicBezTo>
                    <a:pt x="1069375" y="-15869"/>
                    <a:pt x="1144748" y="22151"/>
                    <a:pt x="1167427" y="92188"/>
                  </a:cubicBezTo>
                  <a:cubicBezTo>
                    <a:pt x="1190106" y="162226"/>
                    <a:pt x="1152085" y="237600"/>
                    <a:pt x="1082048" y="260279"/>
                  </a:cubicBezTo>
                  <a:cubicBezTo>
                    <a:pt x="922630" y="312306"/>
                    <a:pt x="755875" y="338320"/>
                    <a:pt x="587118" y="33832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1A36371-34F3-4D3F-8953-AA4D6376F580}"/>
                </a:ext>
              </a:extLst>
            </p:cNvPr>
            <p:cNvSpPr/>
            <p:nvPr/>
          </p:nvSpPr>
          <p:spPr>
            <a:xfrm>
              <a:off x="11253554" y="4289763"/>
              <a:ext cx="583387" cy="1204911"/>
            </a:xfrm>
            <a:custGeom>
              <a:avLst/>
              <a:gdLst>
                <a:gd name="connsiteX0" fmla="*/ 133555 w 546440"/>
                <a:gd name="connsiteY0" fmla="*/ 1128603 h 1128602"/>
                <a:gd name="connsiteX1" fmla="*/ 54846 w 546440"/>
                <a:gd name="connsiteY1" fmla="*/ 1103256 h 1128602"/>
                <a:gd name="connsiteX2" fmla="*/ 25497 w 546440"/>
                <a:gd name="connsiteY2" fmla="*/ 917157 h 1128602"/>
                <a:gd name="connsiteX3" fmla="*/ 214931 w 546440"/>
                <a:gd name="connsiteY3" fmla="*/ 545625 h 1128602"/>
                <a:gd name="connsiteX4" fmla="*/ 279632 w 546440"/>
                <a:gd name="connsiteY4" fmla="*/ 133405 h 1128602"/>
                <a:gd name="connsiteX5" fmla="*/ 413037 w 546440"/>
                <a:gd name="connsiteY5" fmla="*/ 0 h 1128602"/>
                <a:gd name="connsiteX6" fmla="*/ 546441 w 546440"/>
                <a:gd name="connsiteY6" fmla="*/ 133405 h 1128602"/>
                <a:gd name="connsiteX7" fmla="*/ 468399 w 546440"/>
                <a:gd name="connsiteY7" fmla="*/ 628336 h 1128602"/>
                <a:gd name="connsiteX8" fmla="*/ 240945 w 546440"/>
                <a:gd name="connsiteY8" fmla="*/ 1074574 h 1128602"/>
                <a:gd name="connsiteX9" fmla="*/ 133555 w 546440"/>
                <a:gd name="connsiteY9" fmla="*/ 1128603 h 112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6440" h="1128602">
                  <a:moveTo>
                    <a:pt x="133555" y="1128603"/>
                  </a:moveTo>
                  <a:cubicBezTo>
                    <a:pt x="106207" y="1128603"/>
                    <a:pt x="78859" y="1120599"/>
                    <a:pt x="54846" y="1103256"/>
                  </a:cubicBezTo>
                  <a:cubicBezTo>
                    <a:pt x="-4518" y="1059900"/>
                    <a:pt x="-17859" y="976522"/>
                    <a:pt x="25497" y="917157"/>
                  </a:cubicBezTo>
                  <a:cubicBezTo>
                    <a:pt x="108208" y="803763"/>
                    <a:pt x="172242" y="678362"/>
                    <a:pt x="214931" y="545625"/>
                  </a:cubicBezTo>
                  <a:cubicBezTo>
                    <a:pt x="258288" y="412887"/>
                    <a:pt x="279632" y="274147"/>
                    <a:pt x="279632" y="133405"/>
                  </a:cubicBezTo>
                  <a:cubicBezTo>
                    <a:pt x="279632" y="60032"/>
                    <a:pt x="339664" y="0"/>
                    <a:pt x="413037" y="0"/>
                  </a:cubicBezTo>
                  <a:cubicBezTo>
                    <a:pt x="486409" y="0"/>
                    <a:pt x="546441" y="60032"/>
                    <a:pt x="546441" y="133405"/>
                  </a:cubicBezTo>
                  <a:cubicBezTo>
                    <a:pt x="546441" y="302162"/>
                    <a:pt x="520427" y="468918"/>
                    <a:pt x="468399" y="628336"/>
                  </a:cubicBezTo>
                  <a:cubicBezTo>
                    <a:pt x="416372" y="788421"/>
                    <a:pt x="339664" y="938501"/>
                    <a:pt x="240945" y="1074574"/>
                  </a:cubicBezTo>
                  <a:cubicBezTo>
                    <a:pt x="215599" y="1109926"/>
                    <a:pt x="174910" y="1128603"/>
                    <a:pt x="133555" y="1128603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E19A5F1B-202C-4390-89EB-A88AC498B2AE}"/>
                </a:ext>
              </a:extLst>
            </p:cNvPr>
            <p:cNvSpPr/>
            <p:nvPr/>
          </p:nvSpPr>
          <p:spPr>
            <a:xfrm>
              <a:off x="9986139" y="2723093"/>
              <a:ext cx="1552585" cy="930033"/>
            </a:xfrm>
            <a:custGeom>
              <a:avLst/>
              <a:gdLst>
                <a:gd name="connsiteX0" fmla="*/ 1320702 w 1454257"/>
                <a:gd name="connsiteY0" fmla="*/ 871132 h 871132"/>
                <a:gd name="connsiteX1" fmla="*/ 1212645 w 1454257"/>
                <a:gd name="connsiteY1" fmla="*/ 816436 h 871132"/>
                <a:gd name="connsiteX2" fmla="*/ 917154 w 1454257"/>
                <a:gd name="connsiteY2" fmla="*/ 520945 h 871132"/>
                <a:gd name="connsiteX3" fmla="*/ 545624 w 1454257"/>
                <a:gd name="connsiteY3" fmla="*/ 331511 h 871132"/>
                <a:gd name="connsiteX4" fmla="*/ 133404 w 1454257"/>
                <a:gd name="connsiteY4" fmla="*/ 266809 h 871132"/>
                <a:gd name="connsiteX5" fmla="*/ 0 w 1454257"/>
                <a:gd name="connsiteY5" fmla="*/ 133405 h 871132"/>
                <a:gd name="connsiteX6" fmla="*/ 133404 w 1454257"/>
                <a:gd name="connsiteY6" fmla="*/ 0 h 871132"/>
                <a:gd name="connsiteX7" fmla="*/ 628334 w 1454257"/>
                <a:gd name="connsiteY7" fmla="*/ 78042 h 871132"/>
                <a:gd name="connsiteX8" fmla="*/ 1074572 w 1454257"/>
                <a:gd name="connsiteY8" fmla="*/ 305497 h 871132"/>
                <a:gd name="connsiteX9" fmla="*/ 1428760 w 1454257"/>
                <a:gd name="connsiteY9" fmla="*/ 659686 h 871132"/>
                <a:gd name="connsiteX10" fmla="*/ 1399411 w 1454257"/>
                <a:gd name="connsiteY10" fmla="*/ 845786 h 871132"/>
                <a:gd name="connsiteX11" fmla="*/ 1320702 w 1454257"/>
                <a:gd name="connsiteY11" fmla="*/ 871132 h 8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4257" h="871132">
                  <a:moveTo>
                    <a:pt x="1320702" y="871132"/>
                  </a:moveTo>
                  <a:cubicBezTo>
                    <a:pt x="1279347" y="871132"/>
                    <a:pt x="1238659" y="851788"/>
                    <a:pt x="1212645" y="816436"/>
                  </a:cubicBezTo>
                  <a:cubicBezTo>
                    <a:pt x="1129934" y="703042"/>
                    <a:pt x="1030548" y="603656"/>
                    <a:pt x="917154" y="520945"/>
                  </a:cubicBezTo>
                  <a:cubicBezTo>
                    <a:pt x="803761" y="438234"/>
                    <a:pt x="678361" y="374200"/>
                    <a:pt x="545624" y="331511"/>
                  </a:cubicBezTo>
                  <a:cubicBezTo>
                    <a:pt x="412886" y="288154"/>
                    <a:pt x="274146" y="266809"/>
                    <a:pt x="133404" y="266809"/>
                  </a:cubicBezTo>
                  <a:cubicBezTo>
                    <a:pt x="60032" y="266809"/>
                    <a:pt x="0" y="206777"/>
                    <a:pt x="0" y="133405"/>
                  </a:cubicBezTo>
                  <a:cubicBezTo>
                    <a:pt x="0" y="60032"/>
                    <a:pt x="60032" y="0"/>
                    <a:pt x="133404" y="0"/>
                  </a:cubicBezTo>
                  <a:cubicBezTo>
                    <a:pt x="302161" y="0"/>
                    <a:pt x="468916" y="26014"/>
                    <a:pt x="628334" y="78042"/>
                  </a:cubicBezTo>
                  <a:cubicBezTo>
                    <a:pt x="788419" y="130069"/>
                    <a:pt x="938499" y="206777"/>
                    <a:pt x="1074572" y="305497"/>
                  </a:cubicBezTo>
                  <a:cubicBezTo>
                    <a:pt x="1210644" y="404216"/>
                    <a:pt x="1329374" y="523613"/>
                    <a:pt x="1428760" y="659686"/>
                  </a:cubicBezTo>
                  <a:cubicBezTo>
                    <a:pt x="1472116" y="719051"/>
                    <a:pt x="1458776" y="802429"/>
                    <a:pt x="1399411" y="845786"/>
                  </a:cubicBezTo>
                  <a:cubicBezTo>
                    <a:pt x="1375398" y="862461"/>
                    <a:pt x="1348050" y="871132"/>
                    <a:pt x="1320702" y="871132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AF5EDB15-9800-4ED5-86F1-5E6A48C55326}"/>
                </a:ext>
              </a:extLst>
            </p:cNvPr>
            <p:cNvSpPr/>
            <p:nvPr/>
          </p:nvSpPr>
          <p:spPr>
            <a:xfrm>
              <a:off x="8495792" y="4773418"/>
              <a:ext cx="853871" cy="1068061"/>
            </a:xfrm>
            <a:custGeom>
              <a:avLst/>
              <a:gdLst>
                <a:gd name="connsiteX0" fmla="*/ 666907 w 799794"/>
                <a:gd name="connsiteY0" fmla="*/ 1000420 h 1000419"/>
                <a:gd name="connsiteX1" fmla="*/ 588198 w 799794"/>
                <a:gd name="connsiteY1" fmla="*/ 975073 h 1000419"/>
                <a:gd name="connsiteX2" fmla="*/ 234010 w 799794"/>
                <a:gd name="connsiteY2" fmla="*/ 620884 h 1000419"/>
                <a:gd name="connsiteX3" fmla="*/ 6556 w 799794"/>
                <a:gd name="connsiteY3" fmla="*/ 174646 h 1000419"/>
                <a:gd name="connsiteX4" fmla="*/ 91934 w 799794"/>
                <a:gd name="connsiteY4" fmla="*/ 6556 h 1000419"/>
                <a:gd name="connsiteX5" fmla="*/ 260024 w 799794"/>
                <a:gd name="connsiteY5" fmla="*/ 91935 h 1000419"/>
                <a:gd name="connsiteX6" fmla="*/ 449458 w 799794"/>
                <a:gd name="connsiteY6" fmla="*/ 463466 h 1000419"/>
                <a:gd name="connsiteX7" fmla="*/ 744948 w 799794"/>
                <a:gd name="connsiteY7" fmla="*/ 758958 h 1000419"/>
                <a:gd name="connsiteX8" fmla="*/ 774297 w 799794"/>
                <a:gd name="connsiteY8" fmla="*/ 945057 h 1000419"/>
                <a:gd name="connsiteX9" fmla="*/ 666907 w 799794"/>
                <a:gd name="connsiteY9" fmla="*/ 1000420 h 100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9794" h="1000419">
                  <a:moveTo>
                    <a:pt x="666907" y="1000420"/>
                  </a:moveTo>
                  <a:cubicBezTo>
                    <a:pt x="639559" y="1000420"/>
                    <a:pt x="612211" y="992416"/>
                    <a:pt x="588198" y="975073"/>
                  </a:cubicBezTo>
                  <a:cubicBezTo>
                    <a:pt x="452126" y="876354"/>
                    <a:pt x="333396" y="756957"/>
                    <a:pt x="234010" y="620884"/>
                  </a:cubicBezTo>
                  <a:cubicBezTo>
                    <a:pt x="134624" y="484811"/>
                    <a:pt x="57916" y="334064"/>
                    <a:pt x="6556" y="174646"/>
                  </a:cubicBezTo>
                  <a:cubicBezTo>
                    <a:pt x="-16123" y="104608"/>
                    <a:pt x="21897" y="29235"/>
                    <a:pt x="91934" y="6556"/>
                  </a:cubicBezTo>
                  <a:cubicBezTo>
                    <a:pt x="161971" y="-16123"/>
                    <a:pt x="237345" y="21897"/>
                    <a:pt x="260024" y="91935"/>
                  </a:cubicBezTo>
                  <a:cubicBezTo>
                    <a:pt x="303380" y="224672"/>
                    <a:pt x="366747" y="350073"/>
                    <a:pt x="449458" y="463466"/>
                  </a:cubicBezTo>
                  <a:cubicBezTo>
                    <a:pt x="532168" y="576860"/>
                    <a:pt x="631555" y="676247"/>
                    <a:pt x="744948" y="758958"/>
                  </a:cubicBezTo>
                  <a:cubicBezTo>
                    <a:pt x="804313" y="802314"/>
                    <a:pt x="817654" y="885692"/>
                    <a:pt x="774297" y="945057"/>
                  </a:cubicBezTo>
                  <a:cubicBezTo>
                    <a:pt x="748283" y="981076"/>
                    <a:pt x="707595" y="1000420"/>
                    <a:pt x="666907" y="100042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Graphic 3">
              <a:extLst>
                <a:ext uri="{FF2B5EF4-FFF2-40B4-BE49-F238E27FC236}">
                  <a16:creationId xmlns:a16="http://schemas.microsoft.com/office/drawing/2014/main" id="{A8051B8F-EBBE-43D0-AB39-FC8F941D2DCA}"/>
                </a:ext>
              </a:extLst>
            </p:cNvPr>
            <p:cNvSpPr/>
            <p:nvPr/>
          </p:nvSpPr>
          <p:spPr>
            <a:xfrm>
              <a:off x="11242161" y="2561280"/>
              <a:ext cx="1061098" cy="1352482"/>
            </a:xfrm>
            <a:custGeom>
              <a:avLst/>
              <a:gdLst>
                <a:gd name="connsiteX0" fmla="*/ 860608 w 993897"/>
                <a:gd name="connsiteY0" fmla="*/ 1266827 h 1266827"/>
                <a:gd name="connsiteX1" fmla="*/ 733874 w 993897"/>
                <a:gd name="connsiteY1" fmla="*/ 1174778 h 1266827"/>
                <a:gd name="connsiteX2" fmla="*/ 468400 w 993897"/>
                <a:gd name="connsiteY2" fmla="*/ 654500 h 1266827"/>
                <a:gd name="connsiteX3" fmla="*/ 54847 w 993897"/>
                <a:gd name="connsiteY3" fmla="*/ 240946 h 1266827"/>
                <a:gd name="connsiteX4" fmla="*/ 25497 w 993897"/>
                <a:gd name="connsiteY4" fmla="*/ 54846 h 1266827"/>
                <a:gd name="connsiteX5" fmla="*/ 211597 w 993897"/>
                <a:gd name="connsiteY5" fmla="*/ 25498 h 1266827"/>
                <a:gd name="connsiteX6" fmla="*/ 683848 w 993897"/>
                <a:gd name="connsiteY6" fmla="*/ 497750 h 1266827"/>
                <a:gd name="connsiteX7" fmla="*/ 987342 w 993897"/>
                <a:gd name="connsiteY7" fmla="*/ 1092734 h 1266827"/>
                <a:gd name="connsiteX8" fmla="*/ 901964 w 993897"/>
                <a:gd name="connsiteY8" fmla="*/ 1260824 h 1266827"/>
                <a:gd name="connsiteX9" fmla="*/ 860608 w 993897"/>
                <a:gd name="connsiteY9" fmla="*/ 1266827 h 1266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897" h="1266827">
                  <a:moveTo>
                    <a:pt x="860608" y="1266827"/>
                  </a:moveTo>
                  <a:cubicBezTo>
                    <a:pt x="804578" y="1266827"/>
                    <a:pt x="751884" y="1230808"/>
                    <a:pt x="733874" y="1174778"/>
                  </a:cubicBezTo>
                  <a:cubicBezTo>
                    <a:pt x="673175" y="988679"/>
                    <a:pt x="583794" y="813252"/>
                    <a:pt x="468400" y="654500"/>
                  </a:cubicBezTo>
                  <a:cubicBezTo>
                    <a:pt x="353005" y="495749"/>
                    <a:pt x="213598" y="356341"/>
                    <a:pt x="54847" y="240946"/>
                  </a:cubicBezTo>
                  <a:cubicBezTo>
                    <a:pt x="-4519" y="197589"/>
                    <a:pt x="-17859" y="114212"/>
                    <a:pt x="25497" y="54846"/>
                  </a:cubicBezTo>
                  <a:cubicBezTo>
                    <a:pt x="68854" y="-4519"/>
                    <a:pt x="152231" y="-17859"/>
                    <a:pt x="211597" y="25498"/>
                  </a:cubicBezTo>
                  <a:cubicBezTo>
                    <a:pt x="393026" y="157568"/>
                    <a:pt x="551777" y="316319"/>
                    <a:pt x="683848" y="497750"/>
                  </a:cubicBezTo>
                  <a:cubicBezTo>
                    <a:pt x="815918" y="679847"/>
                    <a:pt x="918639" y="879954"/>
                    <a:pt x="987342" y="1092734"/>
                  </a:cubicBezTo>
                  <a:cubicBezTo>
                    <a:pt x="1010021" y="1162772"/>
                    <a:pt x="972000" y="1238145"/>
                    <a:pt x="901964" y="1260824"/>
                  </a:cubicBezTo>
                  <a:cubicBezTo>
                    <a:pt x="887956" y="1264826"/>
                    <a:pt x="873949" y="1266827"/>
                    <a:pt x="860608" y="1266827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Graphic 3">
              <a:extLst>
                <a:ext uri="{FF2B5EF4-FFF2-40B4-BE49-F238E27FC236}">
                  <a16:creationId xmlns:a16="http://schemas.microsoft.com/office/drawing/2014/main" id="{AE1B948F-7E27-4AC1-BB5F-14A8FE27E972}"/>
                </a:ext>
              </a:extLst>
            </p:cNvPr>
            <p:cNvSpPr/>
            <p:nvPr/>
          </p:nvSpPr>
          <p:spPr>
            <a:xfrm>
              <a:off x="7849775" y="4289052"/>
              <a:ext cx="388696" cy="944987"/>
            </a:xfrm>
            <a:custGeom>
              <a:avLst/>
              <a:gdLst>
                <a:gd name="connsiteX0" fmla="*/ 230789 w 364079"/>
                <a:gd name="connsiteY0" fmla="*/ 885140 h 885139"/>
                <a:gd name="connsiteX1" fmla="*/ 104055 w 364079"/>
                <a:gd name="connsiteY1" fmla="*/ 793091 h 885139"/>
                <a:gd name="connsiteX2" fmla="*/ 0 w 364079"/>
                <a:gd name="connsiteY2" fmla="*/ 133405 h 885139"/>
                <a:gd name="connsiteX3" fmla="*/ 133404 w 364079"/>
                <a:gd name="connsiteY3" fmla="*/ 0 h 885139"/>
                <a:gd name="connsiteX4" fmla="*/ 266809 w 364079"/>
                <a:gd name="connsiteY4" fmla="*/ 133405 h 885139"/>
                <a:gd name="connsiteX5" fmla="*/ 357523 w 364079"/>
                <a:gd name="connsiteY5" fmla="*/ 711046 h 885139"/>
                <a:gd name="connsiteX6" fmla="*/ 272145 w 364079"/>
                <a:gd name="connsiteY6" fmla="*/ 879136 h 885139"/>
                <a:gd name="connsiteX7" fmla="*/ 230789 w 364079"/>
                <a:gd name="connsiteY7" fmla="*/ 885140 h 88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4079" h="885139">
                  <a:moveTo>
                    <a:pt x="230789" y="885140"/>
                  </a:moveTo>
                  <a:cubicBezTo>
                    <a:pt x="174759" y="885140"/>
                    <a:pt x="122065" y="849120"/>
                    <a:pt x="104055" y="793091"/>
                  </a:cubicBezTo>
                  <a:cubicBezTo>
                    <a:pt x="35352" y="580977"/>
                    <a:pt x="0" y="358858"/>
                    <a:pt x="0" y="133405"/>
                  </a:cubicBezTo>
                  <a:cubicBezTo>
                    <a:pt x="0" y="60032"/>
                    <a:pt x="60032" y="0"/>
                    <a:pt x="133404" y="0"/>
                  </a:cubicBezTo>
                  <a:cubicBezTo>
                    <a:pt x="206777" y="0"/>
                    <a:pt x="266809" y="60032"/>
                    <a:pt x="266809" y="133405"/>
                  </a:cubicBezTo>
                  <a:cubicBezTo>
                    <a:pt x="266809" y="330843"/>
                    <a:pt x="297492" y="524947"/>
                    <a:pt x="357523" y="711046"/>
                  </a:cubicBezTo>
                  <a:cubicBezTo>
                    <a:pt x="380202" y="781084"/>
                    <a:pt x="342182" y="856458"/>
                    <a:pt x="272145" y="879136"/>
                  </a:cubicBezTo>
                  <a:cubicBezTo>
                    <a:pt x="258137" y="883139"/>
                    <a:pt x="244797" y="885140"/>
                    <a:pt x="230789" y="88514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Graphic 3">
              <a:extLst>
                <a:ext uri="{FF2B5EF4-FFF2-40B4-BE49-F238E27FC236}">
                  <a16:creationId xmlns:a16="http://schemas.microsoft.com/office/drawing/2014/main" id="{D38AA7A1-1776-46E2-989C-DF34723C6051}"/>
                </a:ext>
              </a:extLst>
            </p:cNvPr>
            <p:cNvSpPr/>
            <p:nvPr/>
          </p:nvSpPr>
          <p:spPr>
            <a:xfrm>
              <a:off x="8257660" y="5545077"/>
              <a:ext cx="1352628" cy="1061223"/>
            </a:xfrm>
            <a:custGeom>
              <a:avLst/>
              <a:gdLst>
                <a:gd name="connsiteX0" fmla="*/ 1134087 w 1266963"/>
                <a:gd name="connsiteY0" fmla="*/ 994015 h 994014"/>
                <a:gd name="connsiteX1" fmla="*/ 1092732 w 1266963"/>
                <a:gd name="connsiteY1" fmla="*/ 987345 h 994014"/>
                <a:gd name="connsiteX2" fmla="*/ 497748 w 1266963"/>
                <a:gd name="connsiteY2" fmla="*/ 683849 h 994014"/>
                <a:gd name="connsiteX3" fmla="*/ 25497 w 1266963"/>
                <a:gd name="connsiteY3" fmla="*/ 211597 h 994014"/>
                <a:gd name="connsiteX4" fmla="*/ 54846 w 1266963"/>
                <a:gd name="connsiteY4" fmla="*/ 25498 h 994014"/>
                <a:gd name="connsiteX5" fmla="*/ 240945 w 1266963"/>
                <a:gd name="connsiteY5" fmla="*/ 54846 h 994014"/>
                <a:gd name="connsiteX6" fmla="*/ 654498 w 1266963"/>
                <a:gd name="connsiteY6" fmla="*/ 468401 h 994014"/>
                <a:gd name="connsiteX7" fmla="*/ 1174775 w 1266963"/>
                <a:gd name="connsiteY7" fmla="*/ 733876 h 994014"/>
                <a:gd name="connsiteX8" fmla="*/ 1260154 w 1266963"/>
                <a:gd name="connsiteY8" fmla="*/ 901966 h 994014"/>
                <a:gd name="connsiteX9" fmla="*/ 1134087 w 1266963"/>
                <a:gd name="connsiteY9" fmla="*/ 994015 h 994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963" h="994014">
                  <a:moveTo>
                    <a:pt x="1134087" y="994015"/>
                  </a:moveTo>
                  <a:cubicBezTo>
                    <a:pt x="1120747" y="994015"/>
                    <a:pt x="1106739" y="992014"/>
                    <a:pt x="1092732" y="987345"/>
                  </a:cubicBezTo>
                  <a:cubicBezTo>
                    <a:pt x="879952" y="917974"/>
                    <a:pt x="679178" y="815919"/>
                    <a:pt x="497748" y="683849"/>
                  </a:cubicBezTo>
                  <a:cubicBezTo>
                    <a:pt x="316319" y="551778"/>
                    <a:pt x="157568" y="393027"/>
                    <a:pt x="25497" y="211597"/>
                  </a:cubicBezTo>
                  <a:cubicBezTo>
                    <a:pt x="-17859" y="152232"/>
                    <a:pt x="-4519" y="68854"/>
                    <a:pt x="54846" y="25498"/>
                  </a:cubicBezTo>
                  <a:cubicBezTo>
                    <a:pt x="114211" y="-17859"/>
                    <a:pt x="197589" y="-4519"/>
                    <a:pt x="240945" y="54846"/>
                  </a:cubicBezTo>
                  <a:cubicBezTo>
                    <a:pt x="356340" y="213598"/>
                    <a:pt x="495747" y="353006"/>
                    <a:pt x="654498" y="468401"/>
                  </a:cubicBezTo>
                  <a:cubicBezTo>
                    <a:pt x="813249" y="584463"/>
                    <a:pt x="988676" y="673844"/>
                    <a:pt x="1174775" y="733876"/>
                  </a:cubicBezTo>
                  <a:cubicBezTo>
                    <a:pt x="1244812" y="756555"/>
                    <a:pt x="1283499" y="831928"/>
                    <a:pt x="1260154" y="901966"/>
                  </a:cubicBezTo>
                  <a:cubicBezTo>
                    <a:pt x="1242811" y="957996"/>
                    <a:pt x="1190117" y="994015"/>
                    <a:pt x="1134087" y="99401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Graphic 3">
              <a:extLst>
                <a:ext uri="{FF2B5EF4-FFF2-40B4-BE49-F238E27FC236}">
                  <a16:creationId xmlns:a16="http://schemas.microsoft.com/office/drawing/2014/main" id="{DA3C8297-219B-4021-872C-EFE54BB62253}"/>
                </a:ext>
              </a:extLst>
            </p:cNvPr>
            <p:cNvSpPr/>
            <p:nvPr/>
          </p:nvSpPr>
          <p:spPr>
            <a:xfrm>
              <a:off x="9517435" y="1729264"/>
              <a:ext cx="583387" cy="1204911"/>
            </a:xfrm>
            <a:custGeom>
              <a:avLst/>
              <a:gdLst>
                <a:gd name="connsiteX0" fmla="*/ 133555 w 546440"/>
                <a:gd name="connsiteY0" fmla="*/ 1128603 h 1128602"/>
                <a:gd name="connsiteX1" fmla="*/ 54846 w 546440"/>
                <a:gd name="connsiteY1" fmla="*/ 1103256 h 1128602"/>
                <a:gd name="connsiteX2" fmla="*/ 25497 w 546440"/>
                <a:gd name="connsiteY2" fmla="*/ 917156 h 1128602"/>
                <a:gd name="connsiteX3" fmla="*/ 214931 w 546440"/>
                <a:gd name="connsiteY3" fmla="*/ 545625 h 1128602"/>
                <a:gd name="connsiteX4" fmla="*/ 279632 w 546440"/>
                <a:gd name="connsiteY4" fmla="*/ 133405 h 1128602"/>
                <a:gd name="connsiteX5" fmla="*/ 413037 w 546440"/>
                <a:gd name="connsiteY5" fmla="*/ 0 h 1128602"/>
                <a:gd name="connsiteX6" fmla="*/ 546441 w 546440"/>
                <a:gd name="connsiteY6" fmla="*/ 133405 h 1128602"/>
                <a:gd name="connsiteX7" fmla="*/ 468399 w 546440"/>
                <a:gd name="connsiteY7" fmla="*/ 628336 h 1128602"/>
                <a:gd name="connsiteX8" fmla="*/ 240945 w 546440"/>
                <a:gd name="connsiteY8" fmla="*/ 1074574 h 1128602"/>
                <a:gd name="connsiteX9" fmla="*/ 133555 w 546440"/>
                <a:gd name="connsiteY9" fmla="*/ 1128603 h 112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6440" h="1128602">
                  <a:moveTo>
                    <a:pt x="133555" y="1128603"/>
                  </a:moveTo>
                  <a:cubicBezTo>
                    <a:pt x="106207" y="1128603"/>
                    <a:pt x="78859" y="1120598"/>
                    <a:pt x="54846" y="1103256"/>
                  </a:cubicBezTo>
                  <a:cubicBezTo>
                    <a:pt x="-4518" y="1059900"/>
                    <a:pt x="-17859" y="976522"/>
                    <a:pt x="25497" y="917156"/>
                  </a:cubicBezTo>
                  <a:cubicBezTo>
                    <a:pt x="108208" y="803763"/>
                    <a:pt x="172242" y="678362"/>
                    <a:pt x="214931" y="545625"/>
                  </a:cubicBezTo>
                  <a:cubicBezTo>
                    <a:pt x="258288" y="412887"/>
                    <a:pt x="279632" y="274147"/>
                    <a:pt x="279632" y="133405"/>
                  </a:cubicBezTo>
                  <a:cubicBezTo>
                    <a:pt x="279632" y="60032"/>
                    <a:pt x="339664" y="0"/>
                    <a:pt x="413037" y="0"/>
                  </a:cubicBezTo>
                  <a:cubicBezTo>
                    <a:pt x="486409" y="0"/>
                    <a:pt x="546441" y="60032"/>
                    <a:pt x="546441" y="133405"/>
                  </a:cubicBezTo>
                  <a:cubicBezTo>
                    <a:pt x="546441" y="302161"/>
                    <a:pt x="520427" y="468917"/>
                    <a:pt x="468399" y="628336"/>
                  </a:cubicBezTo>
                  <a:cubicBezTo>
                    <a:pt x="416372" y="788421"/>
                    <a:pt x="339664" y="938501"/>
                    <a:pt x="240945" y="1074574"/>
                  </a:cubicBezTo>
                  <a:cubicBezTo>
                    <a:pt x="215599" y="1109926"/>
                    <a:pt x="174910" y="1128603"/>
                    <a:pt x="133555" y="1128603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Graphic 3">
              <a:extLst>
                <a:ext uri="{FF2B5EF4-FFF2-40B4-BE49-F238E27FC236}">
                  <a16:creationId xmlns:a16="http://schemas.microsoft.com/office/drawing/2014/main" id="{64DD1687-A8BA-4824-8447-68F82F7DA2EB}"/>
                </a:ext>
              </a:extLst>
            </p:cNvPr>
            <p:cNvSpPr/>
            <p:nvPr/>
          </p:nvSpPr>
          <p:spPr>
            <a:xfrm>
              <a:off x="9170632" y="461524"/>
              <a:ext cx="631261" cy="631102"/>
            </a:xfrm>
            <a:custGeom>
              <a:avLst/>
              <a:gdLst>
                <a:gd name="connsiteX0" fmla="*/ 458394 w 591282"/>
                <a:gd name="connsiteY0" fmla="*/ 591133 h 591133"/>
                <a:gd name="connsiteX1" fmla="*/ 350337 w 591282"/>
                <a:gd name="connsiteY1" fmla="*/ 536437 h 591133"/>
                <a:gd name="connsiteX2" fmla="*/ 54846 w 591282"/>
                <a:gd name="connsiteY2" fmla="*/ 240946 h 591133"/>
                <a:gd name="connsiteX3" fmla="*/ 25497 w 591282"/>
                <a:gd name="connsiteY3" fmla="*/ 54846 h 591133"/>
                <a:gd name="connsiteX4" fmla="*/ 211596 w 591282"/>
                <a:gd name="connsiteY4" fmla="*/ 25498 h 591133"/>
                <a:gd name="connsiteX5" fmla="*/ 565785 w 591282"/>
                <a:gd name="connsiteY5" fmla="*/ 379687 h 591133"/>
                <a:gd name="connsiteX6" fmla="*/ 536436 w 591282"/>
                <a:gd name="connsiteY6" fmla="*/ 565786 h 591133"/>
                <a:gd name="connsiteX7" fmla="*/ 458394 w 591282"/>
                <a:gd name="connsiteY7" fmla="*/ 591133 h 59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282" h="591133">
                  <a:moveTo>
                    <a:pt x="458394" y="591133"/>
                  </a:moveTo>
                  <a:cubicBezTo>
                    <a:pt x="417039" y="591133"/>
                    <a:pt x="376351" y="571789"/>
                    <a:pt x="350337" y="536437"/>
                  </a:cubicBezTo>
                  <a:cubicBezTo>
                    <a:pt x="267626" y="423043"/>
                    <a:pt x="168240" y="323657"/>
                    <a:pt x="54846" y="240946"/>
                  </a:cubicBezTo>
                  <a:cubicBezTo>
                    <a:pt x="-4518" y="197590"/>
                    <a:pt x="-17859" y="114212"/>
                    <a:pt x="25497" y="54846"/>
                  </a:cubicBezTo>
                  <a:cubicBezTo>
                    <a:pt x="68854" y="-4519"/>
                    <a:pt x="152232" y="-17859"/>
                    <a:pt x="211596" y="25498"/>
                  </a:cubicBezTo>
                  <a:cubicBezTo>
                    <a:pt x="347669" y="124217"/>
                    <a:pt x="466398" y="243614"/>
                    <a:pt x="565785" y="379687"/>
                  </a:cubicBezTo>
                  <a:cubicBezTo>
                    <a:pt x="609141" y="439052"/>
                    <a:pt x="595801" y="522430"/>
                    <a:pt x="536436" y="565786"/>
                  </a:cubicBezTo>
                  <a:cubicBezTo>
                    <a:pt x="513090" y="582462"/>
                    <a:pt x="485742" y="591133"/>
                    <a:pt x="458394" y="591133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Graphic 3">
              <a:extLst>
                <a:ext uri="{FF2B5EF4-FFF2-40B4-BE49-F238E27FC236}">
                  <a16:creationId xmlns:a16="http://schemas.microsoft.com/office/drawing/2014/main" id="{2DE13201-6EEB-48CC-B91E-88430A781B30}"/>
                </a:ext>
              </a:extLst>
            </p:cNvPr>
            <p:cNvSpPr/>
            <p:nvPr/>
          </p:nvSpPr>
          <p:spPr>
            <a:xfrm>
              <a:off x="8250020" y="161881"/>
              <a:ext cx="769239" cy="361046"/>
            </a:xfrm>
            <a:custGeom>
              <a:avLst/>
              <a:gdLst>
                <a:gd name="connsiteX0" fmla="*/ 586979 w 720522"/>
                <a:gd name="connsiteY0" fmla="*/ 338181 h 338180"/>
                <a:gd name="connsiteX1" fmla="*/ 545624 w 720522"/>
                <a:gd name="connsiteY1" fmla="*/ 331511 h 338180"/>
                <a:gd name="connsiteX2" fmla="*/ 133404 w 720522"/>
                <a:gd name="connsiteY2" fmla="*/ 266809 h 338180"/>
                <a:gd name="connsiteX3" fmla="*/ 0 w 720522"/>
                <a:gd name="connsiteY3" fmla="*/ 133405 h 338180"/>
                <a:gd name="connsiteX4" fmla="*/ 133404 w 720522"/>
                <a:gd name="connsiteY4" fmla="*/ 0 h 338180"/>
                <a:gd name="connsiteX5" fmla="*/ 628334 w 720522"/>
                <a:gd name="connsiteY5" fmla="*/ 78042 h 338180"/>
                <a:gd name="connsiteX6" fmla="*/ 713713 w 720522"/>
                <a:gd name="connsiteY6" fmla="*/ 246131 h 338180"/>
                <a:gd name="connsiteX7" fmla="*/ 586979 w 720522"/>
                <a:gd name="connsiteY7" fmla="*/ 338181 h 33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0522" h="338180">
                  <a:moveTo>
                    <a:pt x="586979" y="338181"/>
                  </a:moveTo>
                  <a:cubicBezTo>
                    <a:pt x="573638" y="338181"/>
                    <a:pt x="559631" y="336180"/>
                    <a:pt x="545624" y="331511"/>
                  </a:cubicBezTo>
                  <a:cubicBezTo>
                    <a:pt x="412886" y="288154"/>
                    <a:pt x="274146" y="266809"/>
                    <a:pt x="133404" y="266809"/>
                  </a:cubicBezTo>
                  <a:cubicBezTo>
                    <a:pt x="60032" y="266809"/>
                    <a:pt x="0" y="206777"/>
                    <a:pt x="0" y="133405"/>
                  </a:cubicBezTo>
                  <a:cubicBezTo>
                    <a:pt x="0" y="60032"/>
                    <a:pt x="60032" y="0"/>
                    <a:pt x="133404" y="0"/>
                  </a:cubicBezTo>
                  <a:cubicBezTo>
                    <a:pt x="302161" y="0"/>
                    <a:pt x="468916" y="26014"/>
                    <a:pt x="628334" y="78042"/>
                  </a:cubicBezTo>
                  <a:cubicBezTo>
                    <a:pt x="698371" y="100721"/>
                    <a:pt x="737058" y="176094"/>
                    <a:pt x="713713" y="246131"/>
                  </a:cubicBezTo>
                  <a:cubicBezTo>
                    <a:pt x="695703" y="302161"/>
                    <a:pt x="643009" y="338181"/>
                    <a:pt x="586979" y="338181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Graphic 3">
              <a:extLst>
                <a:ext uri="{FF2B5EF4-FFF2-40B4-BE49-F238E27FC236}">
                  <a16:creationId xmlns:a16="http://schemas.microsoft.com/office/drawing/2014/main" id="{F6B138AD-9969-4E37-A5CC-10B8B85F6877}"/>
                </a:ext>
              </a:extLst>
            </p:cNvPr>
            <p:cNvSpPr/>
            <p:nvPr/>
          </p:nvSpPr>
          <p:spPr>
            <a:xfrm>
              <a:off x="6683353" y="460812"/>
              <a:ext cx="930191" cy="1552589"/>
            </a:xfrm>
            <a:custGeom>
              <a:avLst/>
              <a:gdLst>
                <a:gd name="connsiteX0" fmla="*/ 133404 w 871280"/>
                <a:gd name="connsiteY0" fmla="*/ 1454261 h 1454260"/>
                <a:gd name="connsiteX1" fmla="*/ 0 w 871280"/>
                <a:gd name="connsiteY1" fmla="*/ 1320856 h 1454260"/>
                <a:gd name="connsiteX2" fmla="*/ 78041 w 871280"/>
                <a:gd name="connsiteY2" fmla="*/ 825925 h 1454260"/>
                <a:gd name="connsiteX3" fmla="*/ 305496 w 871280"/>
                <a:gd name="connsiteY3" fmla="*/ 379687 h 1454260"/>
                <a:gd name="connsiteX4" fmla="*/ 659684 w 871280"/>
                <a:gd name="connsiteY4" fmla="*/ 25498 h 1454260"/>
                <a:gd name="connsiteX5" fmla="*/ 845783 w 871280"/>
                <a:gd name="connsiteY5" fmla="*/ 54847 h 1454260"/>
                <a:gd name="connsiteX6" fmla="*/ 816434 w 871280"/>
                <a:gd name="connsiteY6" fmla="*/ 240946 h 1454260"/>
                <a:gd name="connsiteX7" fmla="*/ 520944 w 871280"/>
                <a:gd name="connsiteY7" fmla="*/ 536437 h 1454260"/>
                <a:gd name="connsiteX8" fmla="*/ 331509 w 871280"/>
                <a:gd name="connsiteY8" fmla="*/ 907969 h 1454260"/>
                <a:gd name="connsiteX9" fmla="*/ 266809 w 871280"/>
                <a:gd name="connsiteY9" fmla="*/ 1320189 h 1454260"/>
                <a:gd name="connsiteX10" fmla="*/ 133404 w 871280"/>
                <a:gd name="connsiteY10" fmla="*/ 1454261 h 145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1280" h="1454260">
                  <a:moveTo>
                    <a:pt x="133404" y="1454261"/>
                  </a:moveTo>
                  <a:cubicBezTo>
                    <a:pt x="60032" y="1454261"/>
                    <a:pt x="0" y="1394229"/>
                    <a:pt x="0" y="1320856"/>
                  </a:cubicBezTo>
                  <a:cubicBezTo>
                    <a:pt x="0" y="1152100"/>
                    <a:pt x="26014" y="985344"/>
                    <a:pt x="78041" y="825925"/>
                  </a:cubicBezTo>
                  <a:cubicBezTo>
                    <a:pt x="130069" y="665840"/>
                    <a:pt x="206777" y="515759"/>
                    <a:pt x="305496" y="379687"/>
                  </a:cubicBezTo>
                  <a:cubicBezTo>
                    <a:pt x="404215" y="243614"/>
                    <a:pt x="523612" y="124884"/>
                    <a:pt x="659684" y="25498"/>
                  </a:cubicBezTo>
                  <a:cubicBezTo>
                    <a:pt x="719049" y="-17859"/>
                    <a:pt x="802427" y="-4519"/>
                    <a:pt x="845783" y="54847"/>
                  </a:cubicBezTo>
                  <a:cubicBezTo>
                    <a:pt x="889139" y="114212"/>
                    <a:pt x="875799" y="197590"/>
                    <a:pt x="816434" y="240946"/>
                  </a:cubicBezTo>
                  <a:cubicBezTo>
                    <a:pt x="703040" y="323657"/>
                    <a:pt x="603654" y="423043"/>
                    <a:pt x="520944" y="536437"/>
                  </a:cubicBezTo>
                  <a:cubicBezTo>
                    <a:pt x="438233" y="649831"/>
                    <a:pt x="374199" y="775232"/>
                    <a:pt x="331509" y="907969"/>
                  </a:cubicBezTo>
                  <a:cubicBezTo>
                    <a:pt x="288153" y="1040707"/>
                    <a:pt x="266809" y="1179447"/>
                    <a:pt x="266809" y="1320189"/>
                  </a:cubicBezTo>
                  <a:cubicBezTo>
                    <a:pt x="266809" y="1394229"/>
                    <a:pt x="207444" y="1454261"/>
                    <a:pt x="133404" y="1454261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Graphic 3">
              <a:extLst>
                <a:ext uri="{FF2B5EF4-FFF2-40B4-BE49-F238E27FC236}">
                  <a16:creationId xmlns:a16="http://schemas.microsoft.com/office/drawing/2014/main" id="{81D1595C-5438-402E-919D-B1BF43231F18}"/>
                </a:ext>
              </a:extLst>
            </p:cNvPr>
            <p:cNvSpPr/>
            <p:nvPr/>
          </p:nvSpPr>
          <p:spPr>
            <a:xfrm>
              <a:off x="6982283" y="2649878"/>
              <a:ext cx="631261" cy="631101"/>
            </a:xfrm>
            <a:custGeom>
              <a:avLst/>
              <a:gdLst>
                <a:gd name="connsiteX0" fmla="*/ 458394 w 591282"/>
                <a:gd name="connsiteY0" fmla="*/ 591133 h 591132"/>
                <a:gd name="connsiteX1" fmla="*/ 379686 w 591282"/>
                <a:gd name="connsiteY1" fmla="*/ 565786 h 591132"/>
                <a:gd name="connsiteX2" fmla="*/ 25497 w 591282"/>
                <a:gd name="connsiteY2" fmla="*/ 211597 h 591132"/>
                <a:gd name="connsiteX3" fmla="*/ 54846 w 591282"/>
                <a:gd name="connsiteY3" fmla="*/ 25498 h 591132"/>
                <a:gd name="connsiteX4" fmla="*/ 240945 w 591282"/>
                <a:gd name="connsiteY4" fmla="*/ 54846 h 591132"/>
                <a:gd name="connsiteX5" fmla="*/ 536436 w 591282"/>
                <a:gd name="connsiteY5" fmla="*/ 350338 h 591132"/>
                <a:gd name="connsiteX6" fmla="*/ 565785 w 591282"/>
                <a:gd name="connsiteY6" fmla="*/ 536437 h 591132"/>
                <a:gd name="connsiteX7" fmla="*/ 458394 w 591282"/>
                <a:gd name="connsiteY7" fmla="*/ 591133 h 59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282" h="591132">
                  <a:moveTo>
                    <a:pt x="458394" y="591133"/>
                  </a:moveTo>
                  <a:cubicBezTo>
                    <a:pt x="431047" y="591133"/>
                    <a:pt x="403699" y="583129"/>
                    <a:pt x="379686" y="565786"/>
                  </a:cubicBezTo>
                  <a:cubicBezTo>
                    <a:pt x="243614" y="467067"/>
                    <a:pt x="124884" y="347670"/>
                    <a:pt x="25497" y="211597"/>
                  </a:cubicBezTo>
                  <a:cubicBezTo>
                    <a:pt x="-17859" y="152232"/>
                    <a:pt x="-4519" y="68854"/>
                    <a:pt x="54846" y="25498"/>
                  </a:cubicBezTo>
                  <a:cubicBezTo>
                    <a:pt x="114211" y="-17859"/>
                    <a:pt x="197589" y="-4519"/>
                    <a:pt x="240945" y="54846"/>
                  </a:cubicBezTo>
                  <a:cubicBezTo>
                    <a:pt x="323656" y="168240"/>
                    <a:pt x="423042" y="267627"/>
                    <a:pt x="536436" y="350338"/>
                  </a:cubicBezTo>
                  <a:cubicBezTo>
                    <a:pt x="595801" y="393694"/>
                    <a:pt x="609141" y="477072"/>
                    <a:pt x="565785" y="536437"/>
                  </a:cubicBezTo>
                  <a:cubicBezTo>
                    <a:pt x="539771" y="571789"/>
                    <a:pt x="499083" y="591133"/>
                    <a:pt x="458394" y="591133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Graphic 3">
              <a:extLst>
                <a:ext uri="{FF2B5EF4-FFF2-40B4-BE49-F238E27FC236}">
                  <a16:creationId xmlns:a16="http://schemas.microsoft.com/office/drawing/2014/main" id="{667B8034-A442-4967-9F9B-D2BA56231F73}"/>
                </a:ext>
              </a:extLst>
            </p:cNvPr>
            <p:cNvSpPr/>
            <p:nvPr/>
          </p:nvSpPr>
          <p:spPr>
            <a:xfrm>
              <a:off x="7765629" y="3218877"/>
              <a:ext cx="1253360" cy="361195"/>
            </a:xfrm>
            <a:custGeom>
              <a:avLst/>
              <a:gdLst>
                <a:gd name="connsiteX0" fmla="*/ 587118 w 1173982"/>
                <a:gd name="connsiteY0" fmla="*/ 338320 h 338320"/>
                <a:gd name="connsiteX1" fmla="*/ 92188 w 1173982"/>
                <a:gd name="connsiteY1" fmla="*/ 260278 h 338320"/>
                <a:gd name="connsiteX2" fmla="*/ 6810 w 1173982"/>
                <a:gd name="connsiteY2" fmla="*/ 92189 h 338320"/>
                <a:gd name="connsiteX3" fmla="*/ 174899 w 1173982"/>
                <a:gd name="connsiteY3" fmla="*/ 6810 h 338320"/>
                <a:gd name="connsiteX4" fmla="*/ 587118 w 1173982"/>
                <a:gd name="connsiteY4" fmla="*/ 71511 h 338320"/>
                <a:gd name="connsiteX5" fmla="*/ 999338 w 1173982"/>
                <a:gd name="connsiteY5" fmla="*/ 6810 h 338320"/>
                <a:gd name="connsiteX6" fmla="*/ 1167427 w 1173982"/>
                <a:gd name="connsiteY6" fmla="*/ 92189 h 338320"/>
                <a:gd name="connsiteX7" fmla="*/ 1082048 w 1173982"/>
                <a:gd name="connsiteY7" fmla="*/ 260278 h 338320"/>
                <a:gd name="connsiteX8" fmla="*/ 587118 w 1173982"/>
                <a:gd name="connsiteY8" fmla="*/ 338320 h 33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3982" h="338320">
                  <a:moveTo>
                    <a:pt x="587118" y="338320"/>
                  </a:moveTo>
                  <a:cubicBezTo>
                    <a:pt x="418362" y="338320"/>
                    <a:pt x="251606" y="312306"/>
                    <a:pt x="92188" y="260278"/>
                  </a:cubicBezTo>
                  <a:cubicBezTo>
                    <a:pt x="22151" y="237600"/>
                    <a:pt x="-16536" y="162226"/>
                    <a:pt x="6810" y="92189"/>
                  </a:cubicBezTo>
                  <a:cubicBezTo>
                    <a:pt x="29488" y="22151"/>
                    <a:pt x="104862" y="-16536"/>
                    <a:pt x="174899" y="6810"/>
                  </a:cubicBezTo>
                  <a:cubicBezTo>
                    <a:pt x="307636" y="50166"/>
                    <a:pt x="446377" y="71511"/>
                    <a:pt x="587118" y="71511"/>
                  </a:cubicBezTo>
                  <a:cubicBezTo>
                    <a:pt x="727860" y="71511"/>
                    <a:pt x="866600" y="49499"/>
                    <a:pt x="999338" y="6810"/>
                  </a:cubicBezTo>
                  <a:cubicBezTo>
                    <a:pt x="1069375" y="-15869"/>
                    <a:pt x="1144748" y="22151"/>
                    <a:pt x="1167427" y="92189"/>
                  </a:cubicBezTo>
                  <a:cubicBezTo>
                    <a:pt x="1190106" y="162226"/>
                    <a:pt x="1152085" y="237600"/>
                    <a:pt x="1082048" y="260278"/>
                  </a:cubicBezTo>
                  <a:cubicBezTo>
                    <a:pt x="922630" y="312306"/>
                    <a:pt x="755875" y="338320"/>
                    <a:pt x="587118" y="33832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Graphic 3">
              <a:extLst>
                <a:ext uri="{FF2B5EF4-FFF2-40B4-BE49-F238E27FC236}">
                  <a16:creationId xmlns:a16="http://schemas.microsoft.com/office/drawing/2014/main" id="{31E5F6E0-13A2-434F-8D3B-0E96BC6A5E18}"/>
                </a:ext>
              </a:extLst>
            </p:cNvPr>
            <p:cNvSpPr/>
            <p:nvPr/>
          </p:nvSpPr>
          <p:spPr>
            <a:xfrm>
              <a:off x="9978890" y="472918"/>
              <a:ext cx="692342" cy="1540483"/>
            </a:xfrm>
            <a:custGeom>
              <a:avLst/>
              <a:gdLst>
                <a:gd name="connsiteX0" fmla="*/ 515091 w 648495"/>
                <a:gd name="connsiteY0" fmla="*/ 1442921 h 1442921"/>
                <a:gd name="connsiteX1" fmla="*/ 381687 w 648495"/>
                <a:gd name="connsiteY1" fmla="*/ 1309517 h 1442921"/>
                <a:gd name="connsiteX2" fmla="*/ 290972 w 648495"/>
                <a:gd name="connsiteY2" fmla="*/ 731875 h 1442921"/>
                <a:gd name="connsiteX3" fmla="*/ 25497 w 648495"/>
                <a:gd name="connsiteY3" fmla="*/ 211597 h 1442921"/>
                <a:gd name="connsiteX4" fmla="*/ 54846 w 648495"/>
                <a:gd name="connsiteY4" fmla="*/ 25498 h 1442921"/>
                <a:gd name="connsiteX5" fmla="*/ 240945 w 648495"/>
                <a:gd name="connsiteY5" fmla="*/ 54846 h 1442921"/>
                <a:gd name="connsiteX6" fmla="*/ 544440 w 648495"/>
                <a:gd name="connsiteY6" fmla="*/ 649831 h 1442921"/>
                <a:gd name="connsiteX7" fmla="*/ 648495 w 648495"/>
                <a:gd name="connsiteY7" fmla="*/ 1309517 h 1442921"/>
                <a:gd name="connsiteX8" fmla="*/ 515091 w 648495"/>
                <a:gd name="connsiteY8" fmla="*/ 1442921 h 14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8495" h="1442921">
                  <a:moveTo>
                    <a:pt x="515091" y="1442921"/>
                  </a:moveTo>
                  <a:cubicBezTo>
                    <a:pt x="441719" y="1442921"/>
                    <a:pt x="381687" y="1382889"/>
                    <a:pt x="381687" y="1309517"/>
                  </a:cubicBezTo>
                  <a:cubicBezTo>
                    <a:pt x="381687" y="1112078"/>
                    <a:pt x="351004" y="917974"/>
                    <a:pt x="290972" y="731875"/>
                  </a:cubicBezTo>
                  <a:cubicBezTo>
                    <a:pt x="230273" y="545775"/>
                    <a:pt x="140892" y="370349"/>
                    <a:pt x="25497" y="211597"/>
                  </a:cubicBezTo>
                  <a:cubicBezTo>
                    <a:pt x="-17859" y="152232"/>
                    <a:pt x="-4518" y="68854"/>
                    <a:pt x="54846" y="25498"/>
                  </a:cubicBezTo>
                  <a:cubicBezTo>
                    <a:pt x="114211" y="-17859"/>
                    <a:pt x="197589" y="-4519"/>
                    <a:pt x="240945" y="54846"/>
                  </a:cubicBezTo>
                  <a:cubicBezTo>
                    <a:pt x="373015" y="236944"/>
                    <a:pt x="475737" y="437051"/>
                    <a:pt x="544440" y="649831"/>
                  </a:cubicBezTo>
                  <a:cubicBezTo>
                    <a:pt x="613143" y="861944"/>
                    <a:pt x="648495" y="1084063"/>
                    <a:pt x="648495" y="1309517"/>
                  </a:cubicBezTo>
                  <a:cubicBezTo>
                    <a:pt x="648495" y="1382889"/>
                    <a:pt x="589130" y="1442921"/>
                    <a:pt x="515091" y="1442921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Graphic 3">
              <a:extLst>
                <a:ext uri="{FF2B5EF4-FFF2-40B4-BE49-F238E27FC236}">
                  <a16:creationId xmlns:a16="http://schemas.microsoft.com/office/drawing/2014/main" id="{93DFC179-4E6E-4F6F-8007-87597BCA840B}"/>
                </a:ext>
              </a:extLst>
            </p:cNvPr>
            <p:cNvSpPr/>
            <p:nvPr userDrawn="1"/>
          </p:nvSpPr>
          <p:spPr>
            <a:xfrm>
              <a:off x="8910007" y="-303285"/>
              <a:ext cx="880491" cy="588362"/>
            </a:xfrm>
            <a:custGeom>
              <a:avLst/>
              <a:gdLst>
                <a:gd name="connsiteX0" fmla="*/ 691174 w 824728"/>
                <a:gd name="connsiteY0" fmla="*/ 551100 h 551100"/>
                <a:gd name="connsiteX1" fmla="*/ 612465 w 824728"/>
                <a:gd name="connsiteY1" fmla="*/ 525754 h 551100"/>
                <a:gd name="connsiteX2" fmla="*/ 92188 w 824728"/>
                <a:gd name="connsiteY2" fmla="*/ 260278 h 551100"/>
                <a:gd name="connsiteX3" fmla="*/ 6810 w 824728"/>
                <a:gd name="connsiteY3" fmla="*/ 92189 h 551100"/>
                <a:gd name="connsiteX4" fmla="*/ 174899 w 824728"/>
                <a:gd name="connsiteY4" fmla="*/ 6810 h 551100"/>
                <a:gd name="connsiteX5" fmla="*/ 769882 w 824728"/>
                <a:gd name="connsiteY5" fmla="*/ 310305 h 551100"/>
                <a:gd name="connsiteX6" fmla="*/ 799231 w 824728"/>
                <a:gd name="connsiteY6" fmla="*/ 496405 h 551100"/>
                <a:gd name="connsiteX7" fmla="*/ 691174 w 824728"/>
                <a:gd name="connsiteY7" fmla="*/ 551100 h 5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4728" h="551100">
                  <a:moveTo>
                    <a:pt x="691174" y="551100"/>
                  </a:moveTo>
                  <a:cubicBezTo>
                    <a:pt x="663826" y="551100"/>
                    <a:pt x="636478" y="543096"/>
                    <a:pt x="612465" y="525754"/>
                  </a:cubicBezTo>
                  <a:cubicBezTo>
                    <a:pt x="453714" y="409692"/>
                    <a:pt x="278287" y="320311"/>
                    <a:pt x="92188" y="260278"/>
                  </a:cubicBezTo>
                  <a:cubicBezTo>
                    <a:pt x="22151" y="237600"/>
                    <a:pt x="-16536" y="162226"/>
                    <a:pt x="6810" y="92189"/>
                  </a:cubicBezTo>
                  <a:cubicBezTo>
                    <a:pt x="29489" y="22151"/>
                    <a:pt x="104862" y="-16536"/>
                    <a:pt x="174899" y="6810"/>
                  </a:cubicBezTo>
                  <a:cubicBezTo>
                    <a:pt x="387679" y="76180"/>
                    <a:pt x="588452" y="178235"/>
                    <a:pt x="769882" y="310305"/>
                  </a:cubicBezTo>
                  <a:cubicBezTo>
                    <a:pt x="829247" y="353662"/>
                    <a:pt x="842587" y="437040"/>
                    <a:pt x="799231" y="496405"/>
                  </a:cubicBezTo>
                  <a:cubicBezTo>
                    <a:pt x="773217" y="531757"/>
                    <a:pt x="732529" y="551100"/>
                    <a:pt x="691174" y="551100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Graphic 3">
              <a:extLst>
                <a:ext uri="{FF2B5EF4-FFF2-40B4-BE49-F238E27FC236}">
                  <a16:creationId xmlns:a16="http://schemas.microsoft.com/office/drawing/2014/main" id="{F746B7F8-9BF9-4D73-90FD-977637BBDBDE}"/>
                </a:ext>
              </a:extLst>
            </p:cNvPr>
            <p:cNvSpPr/>
            <p:nvPr/>
          </p:nvSpPr>
          <p:spPr>
            <a:xfrm>
              <a:off x="6994388" y="-407106"/>
              <a:ext cx="1540479" cy="692183"/>
            </a:xfrm>
            <a:custGeom>
              <a:avLst/>
              <a:gdLst>
                <a:gd name="connsiteX0" fmla="*/ 133555 w 1442917"/>
                <a:gd name="connsiteY0" fmla="*/ 648346 h 648346"/>
                <a:gd name="connsiteX1" fmla="*/ 25497 w 1442917"/>
                <a:gd name="connsiteY1" fmla="*/ 593650 h 648346"/>
                <a:gd name="connsiteX2" fmla="*/ 54846 w 1442917"/>
                <a:gd name="connsiteY2" fmla="*/ 407551 h 648346"/>
                <a:gd name="connsiteX3" fmla="*/ 649829 w 1442917"/>
                <a:gd name="connsiteY3" fmla="*/ 104056 h 648346"/>
                <a:gd name="connsiteX4" fmla="*/ 1309513 w 1442917"/>
                <a:gd name="connsiteY4" fmla="*/ 0 h 648346"/>
                <a:gd name="connsiteX5" fmla="*/ 1442918 w 1442917"/>
                <a:gd name="connsiteY5" fmla="*/ 133405 h 648346"/>
                <a:gd name="connsiteX6" fmla="*/ 1309513 w 1442917"/>
                <a:gd name="connsiteY6" fmla="*/ 266809 h 648346"/>
                <a:gd name="connsiteX7" fmla="*/ 731873 w 1442917"/>
                <a:gd name="connsiteY7" fmla="*/ 357524 h 648346"/>
                <a:gd name="connsiteX8" fmla="*/ 211596 w 1442917"/>
                <a:gd name="connsiteY8" fmla="*/ 622999 h 648346"/>
                <a:gd name="connsiteX9" fmla="*/ 133555 w 1442917"/>
                <a:gd name="connsiteY9" fmla="*/ 648346 h 64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2917" h="648346">
                  <a:moveTo>
                    <a:pt x="133555" y="648346"/>
                  </a:moveTo>
                  <a:cubicBezTo>
                    <a:pt x="92200" y="648346"/>
                    <a:pt x="51511" y="629003"/>
                    <a:pt x="25497" y="593650"/>
                  </a:cubicBezTo>
                  <a:cubicBezTo>
                    <a:pt x="-17859" y="534285"/>
                    <a:pt x="-4519" y="450907"/>
                    <a:pt x="54846" y="407551"/>
                  </a:cubicBezTo>
                  <a:cubicBezTo>
                    <a:pt x="236943" y="275480"/>
                    <a:pt x="437049" y="172759"/>
                    <a:pt x="649829" y="104056"/>
                  </a:cubicBezTo>
                  <a:cubicBezTo>
                    <a:pt x="861942" y="35352"/>
                    <a:pt x="1084060" y="0"/>
                    <a:pt x="1309513" y="0"/>
                  </a:cubicBezTo>
                  <a:cubicBezTo>
                    <a:pt x="1382886" y="0"/>
                    <a:pt x="1442918" y="60032"/>
                    <a:pt x="1442918" y="133405"/>
                  </a:cubicBezTo>
                  <a:cubicBezTo>
                    <a:pt x="1442918" y="206777"/>
                    <a:pt x="1382886" y="266809"/>
                    <a:pt x="1309513" y="266809"/>
                  </a:cubicBezTo>
                  <a:cubicBezTo>
                    <a:pt x="1112075" y="266809"/>
                    <a:pt x="917972" y="297492"/>
                    <a:pt x="731873" y="357524"/>
                  </a:cubicBezTo>
                  <a:cubicBezTo>
                    <a:pt x="545774" y="418223"/>
                    <a:pt x="370347" y="507604"/>
                    <a:pt x="211596" y="622999"/>
                  </a:cubicBezTo>
                  <a:cubicBezTo>
                    <a:pt x="188251" y="639675"/>
                    <a:pt x="160903" y="648346"/>
                    <a:pt x="133555" y="648346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Graphic 3">
              <a:extLst>
                <a:ext uri="{FF2B5EF4-FFF2-40B4-BE49-F238E27FC236}">
                  <a16:creationId xmlns:a16="http://schemas.microsoft.com/office/drawing/2014/main" id="{2545ADF2-AAA4-4DD7-855B-98184C61F549}"/>
                </a:ext>
              </a:extLst>
            </p:cNvPr>
            <p:cNvSpPr/>
            <p:nvPr/>
          </p:nvSpPr>
          <p:spPr>
            <a:xfrm>
              <a:off x="6994388" y="3457426"/>
              <a:ext cx="1540479" cy="692345"/>
            </a:xfrm>
            <a:custGeom>
              <a:avLst/>
              <a:gdLst>
                <a:gd name="connsiteX0" fmla="*/ 1309513 w 1442917"/>
                <a:gd name="connsiteY0" fmla="*/ 648497 h 648497"/>
                <a:gd name="connsiteX1" fmla="*/ 649829 w 1442917"/>
                <a:gd name="connsiteY1" fmla="*/ 544442 h 648497"/>
                <a:gd name="connsiteX2" fmla="*/ 54846 w 1442917"/>
                <a:gd name="connsiteY2" fmla="*/ 240946 h 648497"/>
                <a:gd name="connsiteX3" fmla="*/ 25497 w 1442917"/>
                <a:gd name="connsiteY3" fmla="*/ 54847 h 648497"/>
                <a:gd name="connsiteX4" fmla="*/ 211596 w 1442917"/>
                <a:gd name="connsiteY4" fmla="*/ 25498 h 648497"/>
                <a:gd name="connsiteX5" fmla="*/ 731873 w 1442917"/>
                <a:gd name="connsiteY5" fmla="*/ 290973 h 648497"/>
                <a:gd name="connsiteX6" fmla="*/ 1309513 w 1442917"/>
                <a:gd name="connsiteY6" fmla="*/ 381688 h 648497"/>
                <a:gd name="connsiteX7" fmla="*/ 1442918 w 1442917"/>
                <a:gd name="connsiteY7" fmla="*/ 515093 h 648497"/>
                <a:gd name="connsiteX8" fmla="*/ 1309513 w 1442917"/>
                <a:gd name="connsiteY8" fmla="*/ 648497 h 64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917" h="648497">
                  <a:moveTo>
                    <a:pt x="1309513" y="648497"/>
                  </a:moveTo>
                  <a:cubicBezTo>
                    <a:pt x="1084060" y="648497"/>
                    <a:pt x="861942" y="613812"/>
                    <a:pt x="649829" y="544442"/>
                  </a:cubicBezTo>
                  <a:cubicBezTo>
                    <a:pt x="437049" y="475071"/>
                    <a:pt x="236276" y="373017"/>
                    <a:pt x="54846" y="240946"/>
                  </a:cubicBezTo>
                  <a:cubicBezTo>
                    <a:pt x="-4519" y="197590"/>
                    <a:pt x="-17859" y="114212"/>
                    <a:pt x="25497" y="54847"/>
                  </a:cubicBezTo>
                  <a:cubicBezTo>
                    <a:pt x="68854" y="-4519"/>
                    <a:pt x="152232" y="-17859"/>
                    <a:pt x="211596" y="25498"/>
                  </a:cubicBezTo>
                  <a:cubicBezTo>
                    <a:pt x="370347" y="141560"/>
                    <a:pt x="545774" y="230941"/>
                    <a:pt x="731873" y="290973"/>
                  </a:cubicBezTo>
                  <a:cubicBezTo>
                    <a:pt x="917972" y="351005"/>
                    <a:pt x="1112075" y="381688"/>
                    <a:pt x="1309513" y="381688"/>
                  </a:cubicBezTo>
                  <a:cubicBezTo>
                    <a:pt x="1382886" y="381688"/>
                    <a:pt x="1442918" y="441720"/>
                    <a:pt x="1442918" y="515093"/>
                  </a:cubicBezTo>
                  <a:cubicBezTo>
                    <a:pt x="1442918" y="588465"/>
                    <a:pt x="1383553" y="648497"/>
                    <a:pt x="1309513" y="648497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Graphic 3">
              <a:extLst>
                <a:ext uri="{FF2B5EF4-FFF2-40B4-BE49-F238E27FC236}">
                  <a16:creationId xmlns:a16="http://schemas.microsoft.com/office/drawing/2014/main" id="{A143A5AD-9C4F-4749-A783-55D6326074B3}"/>
                </a:ext>
              </a:extLst>
            </p:cNvPr>
            <p:cNvSpPr/>
            <p:nvPr userDrawn="1"/>
          </p:nvSpPr>
          <p:spPr>
            <a:xfrm>
              <a:off x="10351499" y="2228157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Graphic 3">
              <a:extLst>
                <a:ext uri="{FF2B5EF4-FFF2-40B4-BE49-F238E27FC236}">
                  <a16:creationId xmlns:a16="http://schemas.microsoft.com/office/drawing/2014/main" id="{A523BA98-9C5D-4D70-9D77-F4D7837AB7EE}"/>
                </a:ext>
              </a:extLst>
            </p:cNvPr>
            <p:cNvSpPr/>
            <p:nvPr/>
          </p:nvSpPr>
          <p:spPr>
            <a:xfrm>
              <a:off x="11475185" y="3806944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Graphic 3">
              <a:extLst>
                <a:ext uri="{FF2B5EF4-FFF2-40B4-BE49-F238E27FC236}">
                  <a16:creationId xmlns:a16="http://schemas.microsoft.com/office/drawing/2014/main" id="{E0233462-A5ED-4A7C-BEB7-532614CCFF56}"/>
                </a:ext>
              </a:extLst>
            </p:cNvPr>
            <p:cNvSpPr/>
            <p:nvPr/>
          </p:nvSpPr>
          <p:spPr>
            <a:xfrm>
              <a:off x="10897654" y="5558768"/>
              <a:ext cx="284848" cy="284849"/>
            </a:xfrm>
            <a:custGeom>
              <a:avLst/>
              <a:gdLst>
                <a:gd name="connsiteX0" fmla="*/ 266808 w 266808"/>
                <a:gd name="connsiteY0" fmla="*/ 133405 h 266809"/>
                <a:gd name="connsiteX1" fmla="*/ 133404 w 266808"/>
                <a:gd name="connsiteY1" fmla="*/ 266810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8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8" y="133405"/>
                  </a:moveTo>
                  <a:cubicBezTo>
                    <a:pt x="266808" y="207082"/>
                    <a:pt x="207081" y="266810"/>
                    <a:pt x="133404" y="266810"/>
                  </a:cubicBezTo>
                  <a:cubicBezTo>
                    <a:pt x="59727" y="266810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8" y="59727"/>
                    <a:pt x="266808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Graphic 3">
              <a:extLst>
                <a:ext uri="{FF2B5EF4-FFF2-40B4-BE49-F238E27FC236}">
                  <a16:creationId xmlns:a16="http://schemas.microsoft.com/office/drawing/2014/main" id="{BA772913-A710-49AF-B8AC-6CA91ACD1985}"/>
                </a:ext>
              </a:extLst>
            </p:cNvPr>
            <p:cNvSpPr/>
            <p:nvPr/>
          </p:nvSpPr>
          <p:spPr>
            <a:xfrm>
              <a:off x="8418048" y="4289052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Graphic 3">
              <a:extLst>
                <a:ext uri="{FF2B5EF4-FFF2-40B4-BE49-F238E27FC236}">
                  <a16:creationId xmlns:a16="http://schemas.microsoft.com/office/drawing/2014/main" id="{A6F13F0E-9702-4338-BFE1-F3666BC42AF6}"/>
                </a:ext>
              </a:extLst>
            </p:cNvPr>
            <p:cNvSpPr/>
            <p:nvPr/>
          </p:nvSpPr>
          <p:spPr>
            <a:xfrm>
              <a:off x="9138035" y="3001828"/>
              <a:ext cx="284848" cy="284849"/>
            </a:xfrm>
            <a:custGeom>
              <a:avLst/>
              <a:gdLst>
                <a:gd name="connsiteX0" fmla="*/ 266808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8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8" y="133405"/>
                  </a:moveTo>
                  <a:cubicBezTo>
                    <a:pt x="266808" y="207082"/>
                    <a:pt x="207081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8" y="59727"/>
                    <a:pt x="266808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Graphic 3">
              <a:extLst>
                <a:ext uri="{FF2B5EF4-FFF2-40B4-BE49-F238E27FC236}">
                  <a16:creationId xmlns:a16="http://schemas.microsoft.com/office/drawing/2014/main" id="{15A3BF6D-E57F-4DF1-805D-ECBEFEEA5183}"/>
                </a:ext>
              </a:extLst>
            </p:cNvPr>
            <p:cNvSpPr/>
            <p:nvPr/>
          </p:nvSpPr>
          <p:spPr>
            <a:xfrm>
              <a:off x="9739065" y="1259262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Graphic 3">
              <a:extLst>
                <a:ext uri="{FF2B5EF4-FFF2-40B4-BE49-F238E27FC236}">
                  <a16:creationId xmlns:a16="http://schemas.microsoft.com/office/drawing/2014/main" id="{722C7427-5716-4E0D-8030-E695342D4C02}"/>
                </a:ext>
              </a:extLst>
            </p:cNvPr>
            <p:cNvSpPr/>
            <p:nvPr/>
          </p:nvSpPr>
          <p:spPr>
            <a:xfrm>
              <a:off x="7768625" y="235942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1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Graphic 3">
              <a:extLst>
                <a:ext uri="{FF2B5EF4-FFF2-40B4-BE49-F238E27FC236}">
                  <a16:creationId xmlns:a16="http://schemas.microsoft.com/office/drawing/2014/main" id="{FB13204B-3BFF-47BC-97AE-8DEC6E4EE5AA}"/>
                </a:ext>
              </a:extLst>
            </p:cNvPr>
            <p:cNvSpPr/>
            <p:nvPr/>
          </p:nvSpPr>
          <p:spPr>
            <a:xfrm>
              <a:off x="6765959" y="2230598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1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Graphic 3">
              <a:extLst>
                <a:ext uri="{FF2B5EF4-FFF2-40B4-BE49-F238E27FC236}">
                  <a16:creationId xmlns:a16="http://schemas.microsoft.com/office/drawing/2014/main" id="{16D1D68F-0079-4DE5-A841-D9BA3969DED3}"/>
                </a:ext>
              </a:extLst>
            </p:cNvPr>
            <p:cNvSpPr/>
            <p:nvPr/>
          </p:nvSpPr>
          <p:spPr>
            <a:xfrm>
              <a:off x="9775449" y="6463875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8"/>
                    <a:pt x="59727" y="0"/>
                    <a:pt x="133404" y="0"/>
                  </a:cubicBezTo>
                  <a:cubicBezTo>
                    <a:pt x="207082" y="0"/>
                    <a:pt x="266809" y="59728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74" name="Graphic 3">
            <a:extLst>
              <a:ext uri="{FF2B5EF4-FFF2-40B4-BE49-F238E27FC236}">
                <a16:creationId xmlns:a16="http://schemas.microsoft.com/office/drawing/2014/main" id="{4C9E51F3-2BC7-4528-8560-933354FAC26C}"/>
              </a:ext>
            </a:extLst>
          </p:cNvPr>
          <p:cNvSpPr/>
          <p:nvPr/>
        </p:nvSpPr>
        <p:spPr>
          <a:xfrm>
            <a:off x="7110626" y="589154"/>
            <a:ext cx="2563636" cy="2563643"/>
          </a:xfrm>
          <a:custGeom>
            <a:avLst/>
            <a:gdLst>
              <a:gd name="connsiteX0" fmla="*/ 2401277 w 2401276"/>
              <a:gd name="connsiteY0" fmla="*/ 1200641 h 2401282"/>
              <a:gd name="connsiteX1" fmla="*/ 1200638 w 2401276"/>
              <a:gd name="connsiteY1" fmla="*/ 2401283 h 2401282"/>
              <a:gd name="connsiteX2" fmla="*/ 0 w 2401276"/>
              <a:gd name="connsiteY2" fmla="*/ 1200641 h 2401282"/>
              <a:gd name="connsiteX3" fmla="*/ 1200638 w 2401276"/>
              <a:gd name="connsiteY3" fmla="*/ 0 h 2401282"/>
              <a:gd name="connsiteX4" fmla="*/ 2401277 w 2401276"/>
              <a:gd name="connsiteY4" fmla="*/ 1200641 h 2401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1276" h="2401282">
                <a:moveTo>
                  <a:pt x="2401277" y="1200641"/>
                </a:moveTo>
                <a:cubicBezTo>
                  <a:pt x="2401277" y="1863737"/>
                  <a:pt x="1863732" y="2401283"/>
                  <a:pt x="1200638" y="2401283"/>
                </a:cubicBezTo>
                <a:cubicBezTo>
                  <a:pt x="537544" y="2401283"/>
                  <a:pt x="0" y="1863737"/>
                  <a:pt x="0" y="1200641"/>
                </a:cubicBezTo>
                <a:cubicBezTo>
                  <a:pt x="0" y="537545"/>
                  <a:pt x="537544" y="0"/>
                  <a:pt x="1200638" y="0"/>
                </a:cubicBezTo>
                <a:cubicBezTo>
                  <a:pt x="1863732" y="0"/>
                  <a:pt x="2401277" y="537545"/>
                  <a:pt x="2401277" y="1200641"/>
                </a:cubicBezTo>
                <a:close/>
              </a:path>
            </a:pathLst>
          </a:custGeom>
          <a:solidFill>
            <a:schemeClr val="tx2"/>
          </a:solidFill>
          <a:ln w="666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3" name="Graphic 3">
            <a:extLst>
              <a:ext uri="{FF2B5EF4-FFF2-40B4-BE49-F238E27FC236}">
                <a16:creationId xmlns:a16="http://schemas.microsoft.com/office/drawing/2014/main" id="{1EB489A0-CE2A-4205-99AC-A6B973F53D37}"/>
              </a:ext>
            </a:extLst>
          </p:cNvPr>
          <p:cNvSpPr/>
          <p:nvPr userDrawn="1"/>
        </p:nvSpPr>
        <p:spPr>
          <a:xfrm>
            <a:off x="8846745" y="3149655"/>
            <a:ext cx="2563636" cy="2563643"/>
          </a:xfrm>
          <a:custGeom>
            <a:avLst/>
            <a:gdLst>
              <a:gd name="connsiteX0" fmla="*/ 2401277 w 2401276"/>
              <a:gd name="connsiteY0" fmla="*/ 1200641 h 2401282"/>
              <a:gd name="connsiteX1" fmla="*/ 1200638 w 2401276"/>
              <a:gd name="connsiteY1" fmla="*/ 2401283 h 2401282"/>
              <a:gd name="connsiteX2" fmla="*/ 0 w 2401276"/>
              <a:gd name="connsiteY2" fmla="*/ 1200641 h 2401282"/>
              <a:gd name="connsiteX3" fmla="*/ 1200638 w 2401276"/>
              <a:gd name="connsiteY3" fmla="*/ 0 h 2401282"/>
              <a:gd name="connsiteX4" fmla="*/ 2401277 w 2401276"/>
              <a:gd name="connsiteY4" fmla="*/ 1200641 h 2401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1276" h="2401282">
                <a:moveTo>
                  <a:pt x="2401277" y="1200641"/>
                </a:moveTo>
                <a:cubicBezTo>
                  <a:pt x="2401277" y="1863737"/>
                  <a:pt x="1863732" y="2401283"/>
                  <a:pt x="1200638" y="2401283"/>
                </a:cubicBezTo>
                <a:cubicBezTo>
                  <a:pt x="537544" y="2401283"/>
                  <a:pt x="0" y="1863737"/>
                  <a:pt x="0" y="1200641"/>
                </a:cubicBezTo>
                <a:cubicBezTo>
                  <a:pt x="0" y="537545"/>
                  <a:pt x="537544" y="0"/>
                  <a:pt x="1200638" y="0"/>
                </a:cubicBezTo>
                <a:cubicBezTo>
                  <a:pt x="1863732" y="0"/>
                  <a:pt x="2401277" y="537545"/>
                  <a:pt x="2401277" y="1200641"/>
                </a:cubicBezTo>
                <a:close/>
              </a:path>
            </a:pathLst>
          </a:custGeom>
          <a:solidFill>
            <a:schemeClr val="tx1"/>
          </a:solidFill>
          <a:ln w="666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B7AF8B-4C0D-448F-934D-760AF204C71C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1987" y="1425568"/>
            <a:ext cx="5400000" cy="488955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 userDrawn="1">
            <p:ph type="chart" sz="quarter" idx="29"/>
          </p:nvPr>
        </p:nvSpPr>
        <p:spPr>
          <a:xfrm>
            <a:off x="992188" y="1924046"/>
            <a:ext cx="5400000" cy="3936347"/>
          </a:xfrm>
        </p:spPr>
        <p:txBody>
          <a:bodyPr anchor="ctr">
            <a:normAutofit/>
          </a:bodyPr>
          <a:lstStyle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46214-B998-47A4-9A3D-E1277D43D35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7371841" y="1094871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31A405-9556-48CE-8FA1-466D74FB4A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364963" y="1888670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2FABA672-7054-46D6-8734-1C46875CE04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725CC624-90B2-47BF-AFAB-A943331BACD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098542" y="3678766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A542C347-035C-40A9-94A9-8FF5F71033D5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9091664" y="4472565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3040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 Callout 2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24EBF9AC-82E8-4903-B7AE-A36C0F2D943B}"/>
              </a:ext>
            </a:extLst>
          </p:cNvPr>
          <p:cNvGrpSpPr/>
          <p:nvPr userDrawn="1"/>
        </p:nvGrpSpPr>
        <p:grpSpPr>
          <a:xfrm>
            <a:off x="6683353" y="-407106"/>
            <a:ext cx="5619906" cy="7155830"/>
            <a:chOff x="6683353" y="-407106"/>
            <a:chExt cx="5619906" cy="7155830"/>
          </a:xfrm>
        </p:grpSpPr>
        <p:sp>
          <p:nvSpPr>
            <p:cNvPr id="10" name="Graphic 3">
              <a:extLst>
                <a:ext uri="{FF2B5EF4-FFF2-40B4-BE49-F238E27FC236}">
                  <a16:creationId xmlns:a16="http://schemas.microsoft.com/office/drawing/2014/main" id="{BDE62498-37A6-4FAF-9166-D9F8C8F75A3F}"/>
                </a:ext>
              </a:extLst>
            </p:cNvPr>
            <p:cNvSpPr/>
            <p:nvPr/>
          </p:nvSpPr>
          <p:spPr>
            <a:xfrm>
              <a:off x="9501748" y="5779377"/>
              <a:ext cx="1253360" cy="361194"/>
            </a:xfrm>
            <a:custGeom>
              <a:avLst/>
              <a:gdLst>
                <a:gd name="connsiteX0" fmla="*/ 587118 w 1173982"/>
                <a:gd name="connsiteY0" fmla="*/ 338320 h 338319"/>
                <a:gd name="connsiteX1" fmla="*/ 92189 w 1173982"/>
                <a:gd name="connsiteY1" fmla="*/ 260279 h 338319"/>
                <a:gd name="connsiteX2" fmla="*/ 6810 w 1173982"/>
                <a:gd name="connsiteY2" fmla="*/ 92188 h 338319"/>
                <a:gd name="connsiteX3" fmla="*/ 174899 w 1173982"/>
                <a:gd name="connsiteY3" fmla="*/ 6810 h 338319"/>
                <a:gd name="connsiteX4" fmla="*/ 587118 w 1173982"/>
                <a:gd name="connsiteY4" fmla="*/ 71511 h 338319"/>
                <a:gd name="connsiteX5" fmla="*/ 999338 w 1173982"/>
                <a:gd name="connsiteY5" fmla="*/ 6810 h 338319"/>
                <a:gd name="connsiteX6" fmla="*/ 1167427 w 1173982"/>
                <a:gd name="connsiteY6" fmla="*/ 92188 h 338319"/>
                <a:gd name="connsiteX7" fmla="*/ 1082048 w 1173982"/>
                <a:gd name="connsiteY7" fmla="*/ 260279 h 338319"/>
                <a:gd name="connsiteX8" fmla="*/ 587118 w 1173982"/>
                <a:gd name="connsiteY8" fmla="*/ 338320 h 33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3982" h="338319">
                  <a:moveTo>
                    <a:pt x="587118" y="338320"/>
                  </a:moveTo>
                  <a:cubicBezTo>
                    <a:pt x="418362" y="338320"/>
                    <a:pt x="251607" y="312306"/>
                    <a:pt x="92189" y="260279"/>
                  </a:cubicBezTo>
                  <a:cubicBezTo>
                    <a:pt x="22152" y="237600"/>
                    <a:pt x="-16536" y="162226"/>
                    <a:pt x="6810" y="92188"/>
                  </a:cubicBezTo>
                  <a:cubicBezTo>
                    <a:pt x="29489" y="22151"/>
                    <a:pt x="104862" y="-16536"/>
                    <a:pt x="174899" y="6810"/>
                  </a:cubicBezTo>
                  <a:cubicBezTo>
                    <a:pt x="307637" y="50166"/>
                    <a:pt x="446377" y="71511"/>
                    <a:pt x="587118" y="71511"/>
                  </a:cubicBezTo>
                  <a:cubicBezTo>
                    <a:pt x="727860" y="71511"/>
                    <a:pt x="866600" y="49499"/>
                    <a:pt x="999338" y="6810"/>
                  </a:cubicBezTo>
                  <a:cubicBezTo>
                    <a:pt x="1069375" y="-15869"/>
                    <a:pt x="1144748" y="22151"/>
                    <a:pt x="1167427" y="92188"/>
                  </a:cubicBezTo>
                  <a:cubicBezTo>
                    <a:pt x="1190106" y="162226"/>
                    <a:pt x="1152085" y="237600"/>
                    <a:pt x="1082048" y="260279"/>
                  </a:cubicBezTo>
                  <a:cubicBezTo>
                    <a:pt x="922630" y="312306"/>
                    <a:pt x="755875" y="338320"/>
                    <a:pt x="587118" y="33832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Graphic 3">
              <a:extLst>
                <a:ext uri="{FF2B5EF4-FFF2-40B4-BE49-F238E27FC236}">
                  <a16:creationId xmlns:a16="http://schemas.microsoft.com/office/drawing/2014/main" id="{61A36371-34F3-4D3F-8953-AA4D6376F580}"/>
                </a:ext>
              </a:extLst>
            </p:cNvPr>
            <p:cNvSpPr/>
            <p:nvPr/>
          </p:nvSpPr>
          <p:spPr>
            <a:xfrm>
              <a:off x="11253554" y="4289763"/>
              <a:ext cx="583387" cy="1204911"/>
            </a:xfrm>
            <a:custGeom>
              <a:avLst/>
              <a:gdLst>
                <a:gd name="connsiteX0" fmla="*/ 133555 w 546440"/>
                <a:gd name="connsiteY0" fmla="*/ 1128603 h 1128602"/>
                <a:gd name="connsiteX1" fmla="*/ 54846 w 546440"/>
                <a:gd name="connsiteY1" fmla="*/ 1103256 h 1128602"/>
                <a:gd name="connsiteX2" fmla="*/ 25497 w 546440"/>
                <a:gd name="connsiteY2" fmla="*/ 917157 h 1128602"/>
                <a:gd name="connsiteX3" fmla="*/ 214931 w 546440"/>
                <a:gd name="connsiteY3" fmla="*/ 545625 h 1128602"/>
                <a:gd name="connsiteX4" fmla="*/ 279632 w 546440"/>
                <a:gd name="connsiteY4" fmla="*/ 133405 h 1128602"/>
                <a:gd name="connsiteX5" fmla="*/ 413037 w 546440"/>
                <a:gd name="connsiteY5" fmla="*/ 0 h 1128602"/>
                <a:gd name="connsiteX6" fmla="*/ 546441 w 546440"/>
                <a:gd name="connsiteY6" fmla="*/ 133405 h 1128602"/>
                <a:gd name="connsiteX7" fmla="*/ 468399 w 546440"/>
                <a:gd name="connsiteY7" fmla="*/ 628336 h 1128602"/>
                <a:gd name="connsiteX8" fmla="*/ 240945 w 546440"/>
                <a:gd name="connsiteY8" fmla="*/ 1074574 h 1128602"/>
                <a:gd name="connsiteX9" fmla="*/ 133555 w 546440"/>
                <a:gd name="connsiteY9" fmla="*/ 1128603 h 112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6440" h="1128602">
                  <a:moveTo>
                    <a:pt x="133555" y="1128603"/>
                  </a:moveTo>
                  <a:cubicBezTo>
                    <a:pt x="106207" y="1128603"/>
                    <a:pt x="78859" y="1120599"/>
                    <a:pt x="54846" y="1103256"/>
                  </a:cubicBezTo>
                  <a:cubicBezTo>
                    <a:pt x="-4518" y="1059900"/>
                    <a:pt x="-17859" y="976522"/>
                    <a:pt x="25497" y="917157"/>
                  </a:cubicBezTo>
                  <a:cubicBezTo>
                    <a:pt x="108208" y="803763"/>
                    <a:pt x="172242" y="678362"/>
                    <a:pt x="214931" y="545625"/>
                  </a:cubicBezTo>
                  <a:cubicBezTo>
                    <a:pt x="258288" y="412887"/>
                    <a:pt x="279632" y="274147"/>
                    <a:pt x="279632" y="133405"/>
                  </a:cubicBezTo>
                  <a:cubicBezTo>
                    <a:pt x="279632" y="60032"/>
                    <a:pt x="339664" y="0"/>
                    <a:pt x="413037" y="0"/>
                  </a:cubicBezTo>
                  <a:cubicBezTo>
                    <a:pt x="486409" y="0"/>
                    <a:pt x="546441" y="60032"/>
                    <a:pt x="546441" y="133405"/>
                  </a:cubicBezTo>
                  <a:cubicBezTo>
                    <a:pt x="546441" y="302162"/>
                    <a:pt x="520427" y="468918"/>
                    <a:pt x="468399" y="628336"/>
                  </a:cubicBezTo>
                  <a:cubicBezTo>
                    <a:pt x="416372" y="788421"/>
                    <a:pt x="339664" y="938501"/>
                    <a:pt x="240945" y="1074574"/>
                  </a:cubicBezTo>
                  <a:cubicBezTo>
                    <a:pt x="215599" y="1109926"/>
                    <a:pt x="174910" y="1128603"/>
                    <a:pt x="133555" y="1128603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3">
              <a:extLst>
                <a:ext uri="{FF2B5EF4-FFF2-40B4-BE49-F238E27FC236}">
                  <a16:creationId xmlns:a16="http://schemas.microsoft.com/office/drawing/2014/main" id="{E19A5F1B-202C-4390-89EB-A88AC498B2AE}"/>
                </a:ext>
              </a:extLst>
            </p:cNvPr>
            <p:cNvSpPr/>
            <p:nvPr/>
          </p:nvSpPr>
          <p:spPr>
            <a:xfrm>
              <a:off x="9986139" y="2723093"/>
              <a:ext cx="1552585" cy="930033"/>
            </a:xfrm>
            <a:custGeom>
              <a:avLst/>
              <a:gdLst>
                <a:gd name="connsiteX0" fmla="*/ 1320702 w 1454257"/>
                <a:gd name="connsiteY0" fmla="*/ 871132 h 871132"/>
                <a:gd name="connsiteX1" fmla="*/ 1212645 w 1454257"/>
                <a:gd name="connsiteY1" fmla="*/ 816436 h 871132"/>
                <a:gd name="connsiteX2" fmla="*/ 917154 w 1454257"/>
                <a:gd name="connsiteY2" fmla="*/ 520945 h 871132"/>
                <a:gd name="connsiteX3" fmla="*/ 545624 w 1454257"/>
                <a:gd name="connsiteY3" fmla="*/ 331511 h 871132"/>
                <a:gd name="connsiteX4" fmla="*/ 133404 w 1454257"/>
                <a:gd name="connsiteY4" fmla="*/ 266809 h 871132"/>
                <a:gd name="connsiteX5" fmla="*/ 0 w 1454257"/>
                <a:gd name="connsiteY5" fmla="*/ 133405 h 871132"/>
                <a:gd name="connsiteX6" fmla="*/ 133404 w 1454257"/>
                <a:gd name="connsiteY6" fmla="*/ 0 h 871132"/>
                <a:gd name="connsiteX7" fmla="*/ 628334 w 1454257"/>
                <a:gd name="connsiteY7" fmla="*/ 78042 h 871132"/>
                <a:gd name="connsiteX8" fmla="*/ 1074572 w 1454257"/>
                <a:gd name="connsiteY8" fmla="*/ 305497 h 871132"/>
                <a:gd name="connsiteX9" fmla="*/ 1428760 w 1454257"/>
                <a:gd name="connsiteY9" fmla="*/ 659686 h 871132"/>
                <a:gd name="connsiteX10" fmla="*/ 1399411 w 1454257"/>
                <a:gd name="connsiteY10" fmla="*/ 845786 h 871132"/>
                <a:gd name="connsiteX11" fmla="*/ 1320702 w 1454257"/>
                <a:gd name="connsiteY11" fmla="*/ 871132 h 8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4257" h="871132">
                  <a:moveTo>
                    <a:pt x="1320702" y="871132"/>
                  </a:moveTo>
                  <a:cubicBezTo>
                    <a:pt x="1279347" y="871132"/>
                    <a:pt x="1238659" y="851788"/>
                    <a:pt x="1212645" y="816436"/>
                  </a:cubicBezTo>
                  <a:cubicBezTo>
                    <a:pt x="1129934" y="703042"/>
                    <a:pt x="1030548" y="603656"/>
                    <a:pt x="917154" y="520945"/>
                  </a:cubicBezTo>
                  <a:cubicBezTo>
                    <a:pt x="803761" y="438234"/>
                    <a:pt x="678361" y="374200"/>
                    <a:pt x="545624" y="331511"/>
                  </a:cubicBezTo>
                  <a:cubicBezTo>
                    <a:pt x="412886" y="288154"/>
                    <a:pt x="274146" y="266809"/>
                    <a:pt x="133404" y="266809"/>
                  </a:cubicBezTo>
                  <a:cubicBezTo>
                    <a:pt x="60032" y="266809"/>
                    <a:pt x="0" y="206777"/>
                    <a:pt x="0" y="133405"/>
                  </a:cubicBezTo>
                  <a:cubicBezTo>
                    <a:pt x="0" y="60032"/>
                    <a:pt x="60032" y="0"/>
                    <a:pt x="133404" y="0"/>
                  </a:cubicBezTo>
                  <a:cubicBezTo>
                    <a:pt x="302161" y="0"/>
                    <a:pt x="468916" y="26014"/>
                    <a:pt x="628334" y="78042"/>
                  </a:cubicBezTo>
                  <a:cubicBezTo>
                    <a:pt x="788419" y="130069"/>
                    <a:pt x="938499" y="206777"/>
                    <a:pt x="1074572" y="305497"/>
                  </a:cubicBezTo>
                  <a:cubicBezTo>
                    <a:pt x="1210644" y="404216"/>
                    <a:pt x="1329374" y="523613"/>
                    <a:pt x="1428760" y="659686"/>
                  </a:cubicBezTo>
                  <a:cubicBezTo>
                    <a:pt x="1472116" y="719051"/>
                    <a:pt x="1458776" y="802429"/>
                    <a:pt x="1399411" y="845786"/>
                  </a:cubicBezTo>
                  <a:cubicBezTo>
                    <a:pt x="1375398" y="862461"/>
                    <a:pt x="1348050" y="871132"/>
                    <a:pt x="1320702" y="871132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Graphic 3">
              <a:extLst>
                <a:ext uri="{FF2B5EF4-FFF2-40B4-BE49-F238E27FC236}">
                  <a16:creationId xmlns:a16="http://schemas.microsoft.com/office/drawing/2014/main" id="{AF5EDB15-9800-4ED5-86F1-5E6A48C55326}"/>
                </a:ext>
              </a:extLst>
            </p:cNvPr>
            <p:cNvSpPr/>
            <p:nvPr/>
          </p:nvSpPr>
          <p:spPr>
            <a:xfrm>
              <a:off x="8495792" y="4773418"/>
              <a:ext cx="853871" cy="1068061"/>
            </a:xfrm>
            <a:custGeom>
              <a:avLst/>
              <a:gdLst>
                <a:gd name="connsiteX0" fmla="*/ 666907 w 799794"/>
                <a:gd name="connsiteY0" fmla="*/ 1000420 h 1000419"/>
                <a:gd name="connsiteX1" fmla="*/ 588198 w 799794"/>
                <a:gd name="connsiteY1" fmla="*/ 975073 h 1000419"/>
                <a:gd name="connsiteX2" fmla="*/ 234010 w 799794"/>
                <a:gd name="connsiteY2" fmla="*/ 620884 h 1000419"/>
                <a:gd name="connsiteX3" fmla="*/ 6556 w 799794"/>
                <a:gd name="connsiteY3" fmla="*/ 174646 h 1000419"/>
                <a:gd name="connsiteX4" fmla="*/ 91934 w 799794"/>
                <a:gd name="connsiteY4" fmla="*/ 6556 h 1000419"/>
                <a:gd name="connsiteX5" fmla="*/ 260024 w 799794"/>
                <a:gd name="connsiteY5" fmla="*/ 91935 h 1000419"/>
                <a:gd name="connsiteX6" fmla="*/ 449458 w 799794"/>
                <a:gd name="connsiteY6" fmla="*/ 463466 h 1000419"/>
                <a:gd name="connsiteX7" fmla="*/ 744948 w 799794"/>
                <a:gd name="connsiteY7" fmla="*/ 758958 h 1000419"/>
                <a:gd name="connsiteX8" fmla="*/ 774297 w 799794"/>
                <a:gd name="connsiteY8" fmla="*/ 945057 h 1000419"/>
                <a:gd name="connsiteX9" fmla="*/ 666907 w 799794"/>
                <a:gd name="connsiteY9" fmla="*/ 1000420 h 100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9794" h="1000419">
                  <a:moveTo>
                    <a:pt x="666907" y="1000420"/>
                  </a:moveTo>
                  <a:cubicBezTo>
                    <a:pt x="639559" y="1000420"/>
                    <a:pt x="612211" y="992416"/>
                    <a:pt x="588198" y="975073"/>
                  </a:cubicBezTo>
                  <a:cubicBezTo>
                    <a:pt x="452126" y="876354"/>
                    <a:pt x="333396" y="756957"/>
                    <a:pt x="234010" y="620884"/>
                  </a:cubicBezTo>
                  <a:cubicBezTo>
                    <a:pt x="134624" y="484811"/>
                    <a:pt x="57916" y="334064"/>
                    <a:pt x="6556" y="174646"/>
                  </a:cubicBezTo>
                  <a:cubicBezTo>
                    <a:pt x="-16123" y="104608"/>
                    <a:pt x="21897" y="29235"/>
                    <a:pt x="91934" y="6556"/>
                  </a:cubicBezTo>
                  <a:cubicBezTo>
                    <a:pt x="161971" y="-16123"/>
                    <a:pt x="237345" y="21897"/>
                    <a:pt x="260024" y="91935"/>
                  </a:cubicBezTo>
                  <a:cubicBezTo>
                    <a:pt x="303380" y="224672"/>
                    <a:pt x="366747" y="350073"/>
                    <a:pt x="449458" y="463466"/>
                  </a:cubicBezTo>
                  <a:cubicBezTo>
                    <a:pt x="532168" y="576860"/>
                    <a:pt x="631555" y="676247"/>
                    <a:pt x="744948" y="758958"/>
                  </a:cubicBezTo>
                  <a:cubicBezTo>
                    <a:pt x="804313" y="802314"/>
                    <a:pt x="817654" y="885692"/>
                    <a:pt x="774297" y="945057"/>
                  </a:cubicBezTo>
                  <a:cubicBezTo>
                    <a:pt x="748283" y="981076"/>
                    <a:pt x="707595" y="1000420"/>
                    <a:pt x="666907" y="100042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Graphic 3">
              <a:extLst>
                <a:ext uri="{FF2B5EF4-FFF2-40B4-BE49-F238E27FC236}">
                  <a16:creationId xmlns:a16="http://schemas.microsoft.com/office/drawing/2014/main" id="{A8051B8F-EBBE-43D0-AB39-FC8F941D2DCA}"/>
                </a:ext>
              </a:extLst>
            </p:cNvPr>
            <p:cNvSpPr/>
            <p:nvPr/>
          </p:nvSpPr>
          <p:spPr>
            <a:xfrm>
              <a:off x="11242161" y="2561280"/>
              <a:ext cx="1061098" cy="1352482"/>
            </a:xfrm>
            <a:custGeom>
              <a:avLst/>
              <a:gdLst>
                <a:gd name="connsiteX0" fmla="*/ 860608 w 993897"/>
                <a:gd name="connsiteY0" fmla="*/ 1266827 h 1266827"/>
                <a:gd name="connsiteX1" fmla="*/ 733874 w 993897"/>
                <a:gd name="connsiteY1" fmla="*/ 1174778 h 1266827"/>
                <a:gd name="connsiteX2" fmla="*/ 468400 w 993897"/>
                <a:gd name="connsiteY2" fmla="*/ 654500 h 1266827"/>
                <a:gd name="connsiteX3" fmla="*/ 54847 w 993897"/>
                <a:gd name="connsiteY3" fmla="*/ 240946 h 1266827"/>
                <a:gd name="connsiteX4" fmla="*/ 25497 w 993897"/>
                <a:gd name="connsiteY4" fmla="*/ 54846 h 1266827"/>
                <a:gd name="connsiteX5" fmla="*/ 211597 w 993897"/>
                <a:gd name="connsiteY5" fmla="*/ 25498 h 1266827"/>
                <a:gd name="connsiteX6" fmla="*/ 683848 w 993897"/>
                <a:gd name="connsiteY6" fmla="*/ 497750 h 1266827"/>
                <a:gd name="connsiteX7" fmla="*/ 987342 w 993897"/>
                <a:gd name="connsiteY7" fmla="*/ 1092734 h 1266827"/>
                <a:gd name="connsiteX8" fmla="*/ 901964 w 993897"/>
                <a:gd name="connsiteY8" fmla="*/ 1260824 h 1266827"/>
                <a:gd name="connsiteX9" fmla="*/ 860608 w 993897"/>
                <a:gd name="connsiteY9" fmla="*/ 1266827 h 1266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3897" h="1266827">
                  <a:moveTo>
                    <a:pt x="860608" y="1266827"/>
                  </a:moveTo>
                  <a:cubicBezTo>
                    <a:pt x="804578" y="1266827"/>
                    <a:pt x="751884" y="1230808"/>
                    <a:pt x="733874" y="1174778"/>
                  </a:cubicBezTo>
                  <a:cubicBezTo>
                    <a:pt x="673175" y="988679"/>
                    <a:pt x="583794" y="813252"/>
                    <a:pt x="468400" y="654500"/>
                  </a:cubicBezTo>
                  <a:cubicBezTo>
                    <a:pt x="353005" y="495749"/>
                    <a:pt x="213598" y="356341"/>
                    <a:pt x="54847" y="240946"/>
                  </a:cubicBezTo>
                  <a:cubicBezTo>
                    <a:pt x="-4519" y="197589"/>
                    <a:pt x="-17859" y="114212"/>
                    <a:pt x="25497" y="54846"/>
                  </a:cubicBezTo>
                  <a:cubicBezTo>
                    <a:pt x="68854" y="-4519"/>
                    <a:pt x="152231" y="-17859"/>
                    <a:pt x="211597" y="25498"/>
                  </a:cubicBezTo>
                  <a:cubicBezTo>
                    <a:pt x="393026" y="157568"/>
                    <a:pt x="551777" y="316319"/>
                    <a:pt x="683848" y="497750"/>
                  </a:cubicBezTo>
                  <a:cubicBezTo>
                    <a:pt x="815918" y="679847"/>
                    <a:pt x="918639" y="879954"/>
                    <a:pt x="987342" y="1092734"/>
                  </a:cubicBezTo>
                  <a:cubicBezTo>
                    <a:pt x="1010021" y="1162772"/>
                    <a:pt x="972000" y="1238145"/>
                    <a:pt x="901964" y="1260824"/>
                  </a:cubicBezTo>
                  <a:cubicBezTo>
                    <a:pt x="887956" y="1264826"/>
                    <a:pt x="873949" y="1266827"/>
                    <a:pt x="860608" y="1266827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Graphic 3">
              <a:extLst>
                <a:ext uri="{FF2B5EF4-FFF2-40B4-BE49-F238E27FC236}">
                  <a16:creationId xmlns:a16="http://schemas.microsoft.com/office/drawing/2014/main" id="{AE1B948F-7E27-4AC1-BB5F-14A8FE27E972}"/>
                </a:ext>
              </a:extLst>
            </p:cNvPr>
            <p:cNvSpPr/>
            <p:nvPr/>
          </p:nvSpPr>
          <p:spPr>
            <a:xfrm>
              <a:off x="7849775" y="4289052"/>
              <a:ext cx="388696" cy="944987"/>
            </a:xfrm>
            <a:custGeom>
              <a:avLst/>
              <a:gdLst>
                <a:gd name="connsiteX0" fmla="*/ 230789 w 364079"/>
                <a:gd name="connsiteY0" fmla="*/ 885140 h 885139"/>
                <a:gd name="connsiteX1" fmla="*/ 104055 w 364079"/>
                <a:gd name="connsiteY1" fmla="*/ 793091 h 885139"/>
                <a:gd name="connsiteX2" fmla="*/ 0 w 364079"/>
                <a:gd name="connsiteY2" fmla="*/ 133405 h 885139"/>
                <a:gd name="connsiteX3" fmla="*/ 133404 w 364079"/>
                <a:gd name="connsiteY3" fmla="*/ 0 h 885139"/>
                <a:gd name="connsiteX4" fmla="*/ 266809 w 364079"/>
                <a:gd name="connsiteY4" fmla="*/ 133405 h 885139"/>
                <a:gd name="connsiteX5" fmla="*/ 357523 w 364079"/>
                <a:gd name="connsiteY5" fmla="*/ 711046 h 885139"/>
                <a:gd name="connsiteX6" fmla="*/ 272145 w 364079"/>
                <a:gd name="connsiteY6" fmla="*/ 879136 h 885139"/>
                <a:gd name="connsiteX7" fmla="*/ 230789 w 364079"/>
                <a:gd name="connsiteY7" fmla="*/ 885140 h 885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4079" h="885139">
                  <a:moveTo>
                    <a:pt x="230789" y="885140"/>
                  </a:moveTo>
                  <a:cubicBezTo>
                    <a:pt x="174759" y="885140"/>
                    <a:pt x="122065" y="849120"/>
                    <a:pt x="104055" y="793091"/>
                  </a:cubicBezTo>
                  <a:cubicBezTo>
                    <a:pt x="35352" y="580977"/>
                    <a:pt x="0" y="358858"/>
                    <a:pt x="0" y="133405"/>
                  </a:cubicBezTo>
                  <a:cubicBezTo>
                    <a:pt x="0" y="60032"/>
                    <a:pt x="60032" y="0"/>
                    <a:pt x="133404" y="0"/>
                  </a:cubicBezTo>
                  <a:cubicBezTo>
                    <a:pt x="206777" y="0"/>
                    <a:pt x="266809" y="60032"/>
                    <a:pt x="266809" y="133405"/>
                  </a:cubicBezTo>
                  <a:cubicBezTo>
                    <a:pt x="266809" y="330843"/>
                    <a:pt x="297492" y="524947"/>
                    <a:pt x="357523" y="711046"/>
                  </a:cubicBezTo>
                  <a:cubicBezTo>
                    <a:pt x="380202" y="781084"/>
                    <a:pt x="342182" y="856458"/>
                    <a:pt x="272145" y="879136"/>
                  </a:cubicBezTo>
                  <a:cubicBezTo>
                    <a:pt x="258137" y="883139"/>
                    <a:pt x="244797" y="885140"/>
                    <a:pt x="230789" y="88514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Graphic 3">
              <a:extLst>
                <a:ext uri="{FF2B5EF4-FFF2-40B4-BE49-F238E27FC236}">
                  <a16:creationId xmlns:a16="http://schemas.microsoft.com/office/drawing/2014/main" id="{D38AA7A1-1776-46E2-989C-DF34723C6051}"/>
                </a:ext>
              </a:extLst>
            </p:cNvPr>
            <p:cNvSpPr/>
            <p:nvPr/>
          </p:nvSpPr>
          <p:spPr>
            <a:xfrm>
              <a:off x="8257660" y="5545077"/>
              <a:ext cx="1352628" cy="1061223"/>
            </a:xfrm>
            <a:custGeom>
              <a:avLst/>
              <a:gdLst>
                <a:gd name="connsiteX0" fmla="*/ 1134087 w 1266963"/>
                <a:gd name="connsiteY0" fmla="*/ 994015 h 994014"/>
                <a:gd name="connsiteX1" fmla="*/ 1092732 w 1266963"/>
                <a:gd name="connsiteY1" fmla="*/ 987345 h 994014"/>
                <a:gd name="connsiteX2" fmla="*/ 497748 w 1266963"/>
                <a:gd name="connsiteY2" fmla="*/ 683849 h 994014"/>
                <a:gd name="connsiteX3" fmla="*/ 25497 w 1266963"/>
                <a:gd name="connsiteY3" fmla="*/ 211597 h 994014"/>
                <a:gd name="connsiteX4" fmla="*/ 54846 w 1266963"/>
                <a:gd name="connsiteY4" fmla="*/ 25498 h 994014"/>
                <a:gd name="connsiteX5" fmla="*/ 240945 w 1266963"/>
                <a:gd name="connsiteY5" fmla="*/ 54846 h 994014"/>
                <a:gd name="connsiteX6" fmla="*/ 654498 w 1266963"/>
                <a:gd name="connsiteY6" fmla="*/ 468401 h 994014"/>
                <a:gd name="connsiteX7" fmla="*/ 1174775 w 1266963"/>
                <a:gd name="connsiteY7" fmla="*/ 733876 h 994014"/>
                <a:gd name="connsiteX8" fmla="*/ 1260154 w 1266963"/>
                <a:gd name="connsiteY8" fmla="*/ 901966 h 994014"/>
                <a:gd name="connsiteX9" fmla="*/ 1134087 w 1266963"/>
                <a:gd name="connsiteY9" fmla="*/ 994015 h 994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6963" h="994014">
                  <a:moveTo>
                    <a:pt x="1134087" y="994015"/>
                  </a:moveTo>
                  <a:cubicBezTo>
                    <a:pt x="1120747" y="994015"/>
                    <a:pt x="1106739" y="992014"/>
                    <a:pt x="1092732" y="987345"/>
                  </a:cubicBezTo>
                  <a:cubicBezTo>
                    <a:pt x="879952" y="917974"/>
                    <a:pt x="679178" y="815919"/>
                    <a:pt x="497748" y="683849"/>
                  </a:cubicBezTo>
                  <a:cubicBezTo>
                    <a:pt x="316319" y="551778"/>
                    <a:pt x="157568" y="393027"/>
                    <a:pt x="25497" y="211597"/>
                  </a:cubicBezTo>
                  <a:cubicBezTo>
                    <a:pt x="-17859" y="152232"/>
                    <a:pt x="-4519" y="68854"/>
                    <a:pt x="54846" y="25498"/>
                  </a:cubicBezTo>
                  <a:cubicBezTo>
                    <a:pt x="114211" y="-17859"/>
                    <a:pt x="197589" y="-4519"/>
                    <a:pt x="240945" y="54846"/>
                  </a:cubicBezTo>
                  <a:cubicBezTo>
                    <a:pt x="356340" y="213598"/>
                    <a:pt x="495747" y="353006"/>
                    <a:pt x="654498" y="468401"/>
                  </a:cubicBezTo>
                  <a:cubicBezTo>
                    <a:pt x="813249" y="584463"/>
                    <a:pt x="988676" y="673844"/>
                    <a:pt x="1174775" y="733876"/>
                  </a:cubicBezTo>
                  <a:cubicBezTo>
                    <a:pt x="1244812" y="756555"/>
                    <a:pt x="1283499" y="831928"/>
                    <a:pt x="1260154" y="901966"/>
                  </a:cubicBezTo>
                  <a:cubicBezTo>
                    <a:pt x="1242811" y="957996"/>
                    <a:pt x="1190117" y="994015"/>
                    <a:pt x="1134087" y="99401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Graphic 3">
              <a:extLst>
                <a:ext uri="{FF2B5EF4-FFF2-40B4-BE49-F238E27FC236}">
                  <a16:creationId xmlns:a16="http://schemas.microsoft.com/office/drawing/2014/main" id="{DA3C8297-219B-4021-872C-EFE54BB62253}"/>
                </a:ext>
              </a:extLst>
            </p:cNvPr>
            <p:cNvSpPr/>
            <p:nvPr/>
          </p:nvSpPr>
          <p:spPr>
            <a:xfrm>
              <a:off x="9517435" y="1729264"/>
              <a:ext cx="583387" cy="1204911"/>
            </a:xfrm>
            <a:custGeom>
              <a:avLst/>
              <a:gdLst>
                <a:gd name="connsiteX0" fmla="*/ 133555 w 546440"/>
                <a:gd name="connsiteY0" fmla="*/ 1128603 h 1128602"/>
                <a:gd name="connsiteX1" fmla="*/ 54846 w 546440"/>
                <a:gd name="connsiteY1" fmla="*/ 1103256 h 1128602"/>
                <a:gd name="connsiteX2" fmla="*/ 25497 w 546440"/>
                <a:gd name="connsiteY2" fmla="*/ 917156 h 1128602"/>
                <a:gd name="connsiteX3" fmla="*/ 214931 w 546440"/>
                <a:gd name="connsiteY3" fmla="*/ 545625 h 1128602"/>
                <a:gd name="connsiteX4" fmla="*/ 279632 w 546440"/>
                <a:gd name="connsiteY4" fmla="*/ 133405 h 1128602"/>
                <a:gd name="connsiteX5" fmla="*/ 413037 w 546440"/>
                <a:gd name="connsiteY5" fmla="*/ 0 h 1128602"/>
                <a:gd name="connsiteX6" fmla="*/ 546441 w 546440"/>
                <a:gd name="connsiteY6" fmla="*/ 133405 h 1128602"/>
                <a:gd name="connsiteX7" fmla="*/ 468399 w 546440"/>
                <a:gd name="connsiteY7" fmla="*/ 628336 h 1128602"/>
                <a:gd name="connsiteX8" fmla="*/ 240945 w 546440"/>
                <a:gd name="connsiteY8" fmla="*/ 1074574 h 1128602"/>
                <a:gd name="connsiteX9" fmla="*/ 133555 w 546440"/>
                <a:gd name="connsiteY9" fmla="*/ 1128603 h 112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6440" h="1128602">
                  <a:moveTo>
                    <a:pt x="133555" y="1128603"/>
                  </a:moveTo>
                  <a:cubicBezTo>
                    <a:pt x="106207" y="1128603"/>
                    <a:pt x="78859" y="1120598"/>
                    <a:pt x="54846" y="1103256"/>
                  </a:cubicBezTo>
                  <a:cubicBezTo>
                    <a:pt x="-4518" y="1059900"/>
                    <a:pt x="-17859" y="976522"/>
                    <a:pt x="25497" y="917156"/>
                  </a:cubicBezTo>
                  <a:cubicBezTo>
                    <a:pt x="108208" y="803763"/>
                    <a:pt x="172242" y="678362"/>
                    <a:pt x="214931" y="545625"/>
                  </a:cubicBezTo>
                  <a:cubicBezTo>
                    <a:pt x="258288" y="412887"/>
                    <a:pt x="279632" y="274147"/>
                    <a:pt x="279632" y="133405"/>
                  </a:cubicBezTo>
                  <a:cubicBezTo>
                    <a:pt x="279632" y="60032"/>
                    <a:pt x="339664" y="0"/>
                    <a:pt x="413037" y="0"/>
                  </a:cubicBezTo>
                  <a:cubicBezTo>
                    <a:pt x="486409" y="0"/>
                    <a:pt x="546441" y="60032"/>
                    <a:pt x="546441" y="133405"/>
                  </a:cubicBezTo>
                  <a:cubicBezTo>
                    <a:pt x="546441" y="302161"/>
                    <a:pt x="520427" y="468917"/>
                    <a:pt x="468399" y="628336"/>
                  </a:cubicBezTo>
                  <a:cubicBezTo>
                    <a:pt x="416372" y="788421"/>
                    <a:pt x="339664" y="938501"/>
                    <a:pt x="240945" y="1074574"/>
                  </a:cubicBezTo>
                  <a:cubicBezTo>
                    <a:pt x="215599" y="1109926"/>
                    <a:pt x="174910" y="1128603"/>
                    <a:pt x="133555" y="1128603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Graphic 3">
              <a:extLst>
                <a:ext uri="{FF2B5EF4-FFF2-40B4-BE49-F238E27FC236}">
                  <a16:creationId xmlns:a16="http://schemas.microsoft.com/office/drawing/2014/main" id="{64DD1687-A8BA-4824-8447-68F82F7DA2EB}"/>
                </a:ext>
              </a:extLst>
            </p:cNvPr>
            <p:cNvSpPr/>
            <p:nvPr/>
          </p:nvSpPr>
          <p:spPr>
            <a:xfrm>
              <a:off x="9170632" y="461524"/>
              <a:ext cx="631261" cy="631102"/>
            </a:xfrm>
            <a:custGeom>
              <a:avLst/>
              <a:gdLst>
                <a:gd name="connsiteX0" fmla="*/ 458394 w 591282"/>
                <a:gd name="connsiteY0" fmla="*/ 591133 h 591133"/>
                <a:gd name="connsiteX1" fmla="*/ 350337 w 591282"/>
                <a:gd name="connsiteY1" fmla="*/ 536437 h 591133"/>
                <a:gd name="connsiteX2" fmla="*/ 54846 w 591282"/>
                <a:gd name="connsiteY2" fmla="*/ 240946 h 591133"/>
                <a:gd name="connsiteX3" fmla="*/ 25497 w 591282"/>
                <a:gd name="connsiteY3" fmla="*/ 54846 h 591133"/>
                <a:gd name="connsiteX4" fmla="*/ 211596 w 591282"/>
                <a:gd name="connsiteY4" fmla="*/ 25498 h 591133"/>
                <a:gd name="connsiteX5" fmla="*/ 565785 w 591282"/>
                <a:gd name="connsiteY5" fmla="*/ 379687 h 591133"/>
                <a:gd name="connsiteX6" fmla="*/ 536436 w 591282"/>
                <a:gd name="connsiteY6" fmla="*/ 565786 h 591133"/>
                <a:gd name="connsiteX7" fmla="*/ 458394 w 591282"/>
                <a:gd name="connsiteY7" fmla="*/ 591133 h 59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282" h="591133">
                  <a:moveTo>
                    <a:pt x="458394" y="591133"/>
                  </a:moveTo>
                  <a:cubicBezTo>
                    <a:pt x="417039" y="591133"/>
                    <a:pt x="376351" y="571789"/>
                    <a:pt x="350337" y="536437"/>
                  </a:cubicBezTo>
                  <a:cubicBezTo>
                    <a:pt x="267626" y="423043"/>
                    <a:pt x="168240" y="323657"/>
                    <a:pt x="54846" y="240946"/>
                  </a:cubicBezTo>
                  <a:cubicBezTo>
                    <a:pt x="-4518" y="197590"/>
                    <a:pt x="-17859" y="114212"/>
                    <a:pt x="25497" y="54846"/>
                  </a:cubicBezTo>
                  <a:cubicBezTo>
                    <a:pt x="68854" y="-4519"/>
                    <a:pt x="152232" y="-17859"/>
                    <a:pt x="211596" y="25498"/>
                  </a:cubicBezTo>
                  <a:cubicBezTo>
                    <a:pt x="347669" y="124217"/>
                    <a:pt x="466398" y="243614"/>
                    <a:pt x="565785" y="379687"/>
                  </a:cubicBezTo>
                  <a:cubicBezTo>
                    <a:pt x="609141" y="439052"/>
                    <a:pt x="595801" y="522430"/>
                    <a:pt x="536436" y="565786"/>
                  </a:cubicBezTo>
                  <a:cubicBezTo>
                    <a:pt x="513090" y="582462"/>
                    <a:pt x="485742" y="591133"/>
                    <a:pt x="458394" y="591133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Graphic 3">
              <a:extLst>
                <a:ext uri="{FF2B5EF4-FFF2-40B4-BE49-F238E27FC236}">
                  <a16:creationId xmlns:a16="http://schemas.microsoft.com/office/drawing/2014/main" id="{2DE13201-6EEB-48CC-B91E-88430A781B30}"/>
                </a:ext>
              </a:extLst>
            </p:cNvPr>
            <p:cNvSpPr/>
            <p:nvPr/>
          </p:nvSpPr>
          <p:spPr>
            <a:xfrm>
              <a:off x="8250020" y="161881"/>
              <a:ext cx="769239" cy="361046"/>
            </a:xfrm>
            <a:custGeom>
              <a:avLst/>
              <a:gdLst>
                <a:gd name="connsiteX0" fmla="*/ 586979 w 720522"/>
                <a:gd name="connsiteY0" fmla="*/ 338181 h 338180"/>
                <a:gd name="connsiteX1" fmla="*/ 545624 w 720522"/>
                <a:gd name="connsiteY1" fmla="*/ 331511 h 338180"/>
                <a:gd name="connsiteX2" fmla="*/ 133404 w 720522"/>
                <a:gd name="connsiteY2" fmla="*/ 266809 h 338180"/>
                <a:gd name="connsiteX3" fmla="*/ 0 w 720522"/>
                <a:gd name="connsiteY3" fmla="*/ 133405 h 338180"/>
                <a:gd name="connsiteX4" fmla="*/ 133404 w 720522"/>
                <a:gd name="connsiteY4" fmla="*/ 0 h 338180"/>
                <a:gd name="connsiteX5" fmla="*/ 628334 w 720522"/>
                <a:gd name="connsiteY5" fmla="*/ 78042 h 338180"/>
                <a:gd name="connsiteX6" fmla="*/ 713713 w 720522"/>
                <a:gd name="connsiteY6" fmla="*/ 246131 h 338180"/>
                <a:gd name="connsiteX7" fmla="*/ 586979 w 720522"/>
                <a:gd name="connsiteY7" fmla="*/ 338181 h 33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0522" h="338180">
                  <a:moveTo>
                    <a:pt x="586979" y="338181"/>
                  </a:moveTo>
                  <a:cubicBezTo>
                    <a:pt x="573638" y="338181"/>
                    <a:pt x="559631" y="336180"/>
                    <a:pt x="545624" y="331511"/>
                  </a:cubicBezTo>
                  <a:cubicBezTo>
                    <a:pt x="412886" y="288154"/>
                    <a:pt x="274146" y="266809"/>
                    <a:pt x="133404" y="266809"/>
                  </a:cubicBezTo>
                  <a:cubicBezTo>
                    <a:pt x="60032" y="266809"/>
                    <a:pt x="0" y="206777"/>
                    <a:pt x="0" y="133405"/>
                  </a:cubicBezTo>
                  <a:cubicBezTo>
                    <a:pt x="0" y="60032"/>
                    <a:pt x="60032" y="0"/>
                    <a:pt x="133404" y="0"/>
                  </a:cubicBezTo>
                  <a:cubicBezTo>
                    <a:pt x="302161" y="0"/>
                    <a:pt x="468916" y="26014"/>
                    <a:pt x="628334" y="78042"/>
                  </a:cubicBezTo>
                  <a:cubicBezTo>
                    <a:pt x="698371" y="100721"/>
                    <a:pt x="737058" y="176094"/>
                    <a:pt x="713713" y="246131"/>
                  </a:cubicBezTo>
                  <a:cubicBezTo>
                    <a:pt x="695703" y="302161"/>
                    <a:pt x="643009" y="338181"/>
                    <a:pt x="586979" y="338181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Graphic 3">
              <a:extLst>
                <a:ext uri="{FF2B5EF4-FFF2-40B4-BE49-F238E27FC236}">
                  <a16:creationId xmlns:a16="http://schemas.microsoft.com/office/drawing/2014/main" id="{F6B138AD-9969-4E37-A5CC-10B8B85F6877}"/>
                </a:ext>
              </a:extLst>
            </p:cNvPr>
            <p:cNvSpPr/>
            <p:nvPr/>
          </p:nvSpPr>
          <p:spPr>
            <a:xfrm>
              <a:off x="6683353" y="460812"/>
              <a:ext cx="930191" cy="1552589"/>
            </a:xfrm>
            <a:custGeom>
              <a:avLst/>
              <a:gdLst>
                <a:gd name="connsiteX0" fmla="*/ 133404 w 871280"/>
                <a:gd name="connsiteY0" fmla="*/ 1454261 h 1454260"/>
                <a:gd name="connsiteX1" fmla="*/ 0 w 871280"/>
                <a:gd name="connsiteY1" fmla="*/ 1320856 h 1454260"/>
                <a:gd name="connsiteX2" fmla="*/ 78041 w 871280"/>
                <a:gd name="connsiteY2" fmla="*/ 825925 h 1454260"/>
                <a:gd name="connsiteX3" fmla="*/ 305496 w 871280"/>
                <a:gd name="connsiteY3" fmla="*/ 379687 h 1454260"/>
                <a:gd name="connsiteX4" fmla="*/ 659684 w 871280"/>
                <a:gd name="connsiteY4" fmla="*/ 25498 h 1454260"/>
                <a:gd name="connsiteX5" fmla="*/ 845783 w 871280"/>
                <a:gd name="connsiteY5" fmla="*/ 54847 h 1454260"/>
                <a:gd name="connsiteX6" fmla="*/ 816434 w 871280"/>
                <a:gd name="connsiteY6" fmla="*/ 240946 h 1454260"/>
                <a:gd name="connsiteX7" fmla="*/ 520944 w 871280"/>
                <a:gd name="connsiteY7" fmla="*/ 536437 h 1454260"/>
                <a:gd name="connsiteX8" fmla="*/ 331509 w 871280"/>
                <a:gd name="connsiteY8" fmla="*/ 907969 h 1454260"/>
                <a:gd name="connsiteX9" fmla="*/ 266809 w 871280"/>
                <a:gd name="connsiteY9" fmla="*/ 1320189 h 1454260"/>
                <a:gd name="connsiteX10" fmla="*/ 133404 w 871280"/>
                <a:gd name="connsiteY10" fmla="*/ 1454261 h 145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1280" h="1454260">
                  <a:moveTo>
                    <a:pt x="133404" y="1454261"/>
                  </a:moveTo>
                  <a:cubicBezTo>
                    <a:pt x="60032" y="1454261"/>
                    <a:pt x="0" y="1394229"/>
                    <a:pt x="0" y="1320856"/>
                  </a:cubicBezTo>
                  <a:cubicBezTo>
                    <a:pt x="0" y="1152100"/>
                    <a:pt x="26014" y="985344"/>
                    <a:pt x="78041" y="825925"/>
                  </a:cubicBezTo>
                  <a:cubicBezTo>
                    <a:pt x="130069" y="665840"/>
                    <a:pt x="206777" y="515759"/>
                    <a:pt x="305496" y="379687"/>
                  </a:cubicBezTo>
                  <a:cubicBezTo>
                    <a:pt x="404215" y="243614"/>
                    <a:pt x="523612" y="124884"/>
                    <a:pt x="659684" y="25498"/>
                  </a:cubicBezTo>
                  <a:cubicBezTo>
                    <a:pt x="719049" y="-17859"/>
                    <a:pt x="802427" y="-4519"/>
                    <a:pt x="845783" y="54847"/>
                  </a:cubicBezTo>
                  <a:cubicBezTo>
                    <a:pt x="889139" y="114212"/>
                    <a:pt x="875799" y="197590"/>
                    <a:pt x="816434" y="240946"/>
                  </a:cubicBezTo>
                  <a:cubicBezTo>
                    <a:pt x="703040" y="323657"/>
                    <a:pt x="603654" y="423043"/>
                    <a:pt x="520944" y="536437"/>
                  </a:cubicBezTo>
                  <a:cubicBezTo>
                    <a:pt x="438233" y="649831"/>
                    <a:pt x="374199" y="775232"/>
                    <a:pt x="331509" y="907969"/>
                  </a:cubicBezTo>
                  <a:cubicBezTo>
                    <a:pt x="288153" y="1040707"/>
                    <a:pt x="266809" y="1179447"/>
                    <a:pt x="266809" y="1320189"/>
                  </a:cubicBezTo>
                  <a:cubicBezTo>
                    <a:pt x="266809" y="1394229"/>
                    <a:pt x="207444" y="1454261"/>
                    <a:pt x="133404" y="1454261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Graphic 3">
              <a:extLst>
                <a:ext uri="{FF2B5EF4-FFF2-40B4-BE49-F238E27FC236}">
                  <a16:creationId xmlns:a16="http://schemas.microsoft.com/office/drawing/2014/main" id="{81D1595C-5438-402E-919D-B1BF43231F18}"/>
                </a:ext>
              </a:extLst>
            </p:cNvPr>
            <p:cNvSpPr/>
            <p:nvPr/>
          </p:nvSpPr>
          <p:spPr>
            <a:xfrm>
              <a:off x="6982283" y="2649878"/>
              <a:ext cx="631261" cy="631101"/>
            </a:xfrm>
            <a:custGeom>
              <a:avLst/>
              <a:gdLst>
                <a:gd name="connsiteX0" fmla="*/ 458394 w 591282"/>
                <a:gd name="connsiteY0" fmla="*/ 591133 h 591132"/>
                <a:gd name="connsiteX1" fmla="*/ 379686 w 591282"/>
                <a:gd name="connsiteY1" fmla="*/ 565786 h 591132"/>
                <a:gd name="connsiteX2" fmla="*/ 25497 w 591282"/>
                <a:gd name="connsiteY2" fmla="*/ 211597 h 591132"/>
                <a:gd name="connsiteX3" fmla="*/ 54846 w 591282"/>
                <a:gd name="connsiteY3" fmla="*/ 25498 h 591132"/>
                <a:gd name="connsiteX4" fmla="*/ 240945 w 591282"/>
                <a:gd name="connsiteY4" fmla="*/ 54846 h 591132"/>
                <a:gd name="connsiteX5" fmla="*/ 536436 w 591282"/>
                <a:gd name="connsiteY5" fmla="*/ 350338 h 591132"/>
                <a:gd name="connsiteX6" fmla="*/ 565785 w 591282"/>
                <a:gd name="connsiteY6" fmla="*/ 536437 h 591132"/>
                <a:gd name="connsiteX7" fmla="*/ 458394 w 591282"/>
                <a:gd name="connsiteY7" fmla="*/ 591133 h 59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282" h="591132">
                  <a:moveTo>
                    <a:pt x="458394" y="591133"/>
                  </a:moveTo>
                  <a:cubicBezTo>
                    <a:pt x="431047" y="591133"/>
                    <a:pt x="403699" y="583129"/>
                    <a:pt x="379686" y="565786"/>
                  </a:cubicBezTo>
                  <a:cubicBezTo>
                    <a:pt x="243614" y="467067"/>
                    <a:pt x="124884" y="347670"/>
                    <a:pt x="25497" y="211597"/>
                  </a:cubicBezTo>
                  <a:cubicBezTo>
                    <a:pt x="-17859" y="152232"/>
                    <a:pt x="-4519" y="68854"/>
                    <a:pt x="54846" y="25498"/>
                  </a:cubicBezTo>
                  <a:cubicBezTo>
                    <a:pt x="114211" y="-17859"/>
                    <a:pt x="197589" y="-4519"/>
                    <a:pt x="240945" y="54846"/>
                  </a:cubicBezTo>
                  <a:cubicBezTo>
                    <a:pt x="323656" y="168240"/>
                    <a:pt x="423042" y="267627"/>
                    <a:pt x="536436" y="350338"/>
                  </a:cubicBezTo>
                  <a:cubicBezTo>
                    <a:pt x="595801" y="393694"/>
                    <a:pt x="609141" y="477072"/>
                    <a:pt x="565785" y="536437"/>
                  </a:cubicBezTo>
                  <a:cubicBezTo>
                    <a:pt x="539771" y="571789"/>
                    <a:pt x="499083" y="591133"/>
                    <a:pt x="458394" y="591133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Graphic 3">
              <a:extLst>
                <a:ext uri="{FF2B5EF4-FFF2-40B4-BE49-F238E27FC236}">
                  <a16:creationId xmlns:a16="http://schemas.microsoft.com/office/drawing/2014/main" id="{667B8034-A442-4967-9F9B-D2BA56231F73}"/>
                </a:ext>
              </a:extLst>
            </p:cNvPr>
            <p:cNvSpPr/>
            <p:nvPr/>
          </p:nvSpPr>
          <p:spPr>
            <a:xfrm>
              <a:off x="7765629" y="3218877"/>
              <a:ext cx="1253360" cy="361195"/>
            </a:xfrm>
            <a:custGeom>
              <a:avLst/>
              <a:gdLst>
                <a:gd name="connsiteX0" fmla="*/ 587118 w 1173982"/>
                <a:gd name="connsiteY0" fmla="*/ 338320 h 338320"/>
                <a:gd name="connsiteX1" fmla="*/ 92188 w 1173982"/>
                <a:gd name="connsiteY1" fmla="*/ 260278 h 338320"/>
                <a:gd name="connsiteX2" fmla="*/ 6810 w 1173982"/>
                <a:gd name="connsiteY2" fmla="*/ 92189 h 338320"/>
                <a:gd name="connsiteX3" fmla="*/ 174899 w 1173982"/>
                <a:gd name="connsiteY3" fmla="*/ 6810 h 338320"/>
                <a:gd name="connsiteX4" fmla="*/ 587118 w 1173982"/>
                <a:gd name="connsiteY4" fmla="*/ 71511 h 338320"/>
                <a:gd name="connsiteX5" fmla="*/ 999338 w 1173982"/>
                <a:gd name="connsiteY5" fmla="*/ 6810 h 338320"/>
                <a:gd name="connsiteX6" fmla="*/ 1167427 w 1173982"/>
                <a:gd name="connsiteY6" fmla="*/ 92189 h 338320"/>
                <a:gd name="connsiteX7" fmla="*/ 1082048 w 1173982"/>
                <a:gd name="connsiteY7" fmla="*/ 260278 h 338320"/>
                <a:gd name="connsiteX8" fmla="*/ 587118 w 1173982"/>
                <a:gd name="connsiteY8" fmla="*/ 338320 h 33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3982" h="338320">
                  <a:moveTo>
                    <a:pt x="587118" y="338320"/>
                  </a:moveTo>
                  <a:cubicBezTo>
                    <a:pt x="418362" y="338320"/>
                    <a:pt x="251606" y="312306"/>
                    <a:pt x="92188" y="260278"/>
                  </a:cubicBezTo>
                  <a:cubicBezTo>
                    <a:pt x="22151" y="237600"/>
                    <a:pt x="-16536" y="162226"/>
                    <a:pt x="6810" y="92189"/>
                  </a:cubicBezTo>
                  <a:cubicBezTo>
                    <a:pt x="29488" y="22151"/>
                    <a:pt x="104862" y="-16536"/>
                    <a:pt x="174899" y="6810"/>
                  </a:cubicBezTo>
                  <a:cubicBezTo>
                    <a:pt x="307636" y="50166"/>
                    <a:pt x="446377" y="71511"/>
                    <a:pt x="587118" y="71511"/>
                  </a:cubicBezTo>
                  <a:cubicBezTo>
                    <a:pt x="727860" y="71511"/>
                    <a:pt x="866600" y="49499"/>
                    <a:pt x="999338" y="6810"/>
                  </a:cubicBezTo>
                  <a:cubicBezTo>
                    <a:pt x="1069375" y="-15869"/>
                    <a:pt x="1144748" y="22151"/>
                    <a:pt x="1167427" y="92189"/>
                  </a:cubicBezTo>
                  <a:cubicBezTo>
                    <a:pt x="1190106" y="162226"/>
                    <a:pt x="1152085" y="237600"/>
                    <a:pt x="1082048" y="260278"/>
                  </a:cubicBezTo>
                  <a:cubicBezTo>
                    <a:pt x="922630" y="312306"/>
                    <a:pt x="755875" y="338320"/>
                    <a:pt x="587118" y="33832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Graphic 3">
              <a:extLst>
                <a:ext uri="{FF2B5EF4-FFF2-40B4-BE49-F238E27FC236}">
                  <a16:creationId xmlns:a16="http://schemas.microsoft.com/office/drawing/2014/main" id="{31E5F6E0-13A2-434F-8D3B-0E96BC6A5E18}"/>
                </a:ext>
              </a:extLst>
            </p:cNvPr>
            <p:cNvSpPr/>
            <p:nvPr/>
          </p:nvSpPr>
          <p:spPr>
            <a:xfrm>
              <a:off x="9978890" y="472918"/>
              <a:ext cx="692342" cy="1540483"/>
            </a:xfrm>
            <a:custGeom>
              <a:avLst/>
              <a:gdLst>
                <a:gd name="connsiteX0" fmla="*/ 515091 w 648495"/>
                <a:gd name="connsiteY0" fmla="*/ 1442921 h 1442921"/>
                <a:gd name="connsiteX1" fmla="*/ 381687 w 648495"/>
                <a:gd name="connsiteY1" fmla="*/ 1309517 h 1442921"/>
                <a:gd name="connsiteX2" fmla="*/ 290972 w 648495"/>
                <a:gd name="connsiteY2" fmla="*/ 731875 h 1442921"/>
                <a:gd name="connsiteX3" fmla="*/ 25497 w 648495"/>
                <a:gd name="connsiteY3" fmla="*/ 211597 h 1442921"/>
                <a:gd name="connsiteX4" fmla="*/ 54846 w 648495"/>
                <a:gd name="connsiteY4" fmla="*/ 25498 h 1442921"/>
                <a:gd name="connsiteX5" fmla="*/ 240945 w 648495"/>
                <a:gd name="connsiteY5" fmla="*/ 54846 h 1442921"/>
                <a:gd name="connsiteX6" fmla="*/ 544440 w 648495"/>
                <a:gd name="connsiteY6" fmla="*/ 649831 h 1442921"/>
                <a:gd name="connsiteX7" fmla="*/ 648495 w 648495"/>
                <a:gd name="connsiteY7" fmla="*/ 1309517 h 1442921"/>
                <a:gd name="connsiteX8" fmla="*/ 515091 w 648495"/>
                <a:gd name="connsiteY8" fmla="*/ 1442921 h 14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8495" h="1442921">
                  <a:moveTo>
                    <a:pt x="515091" y="1442921"/>
                  </a:moveTo>
                  <a:cubicBezTo>
                    <a:pt x="441719" y="1442921"/>
                    <a:pt x="381687" y="1382889"/>
                    <a:pt x="381687" y="1309517"/>
                  </a:cubicBezTo>
                  <a:cubicBezTo>
                    <a:pt x="381687" y="1112078"/>
                    <a:pt x="351004" y="917974"/>
                    <a:pt x="290972" y="731875"/>
                  </a:cubicBezTo>
                  <a:cubicBezTo>
                    <a:pt x="230273" y="545775"/>
                    <a:pt x="140892" y="370349"/>
                    <a:pt x="25497" y="211597"/>
                  </a:cubicBezTo>
                  <a:cubicBezTo>
                    <a:pt x="-17859" y="152232"/>
                    <a:pt x="-4518" y="68854"/>
                    <a:pt x="54846" y="25498"/>
                  </a:cubicBezTo>
                  <a:cubicBezTo>
                    <a:pt x="114211" y="-17859"/>
                    <a:pt x="197589" y="-4519"/>
                    <a:pt x="240945" y="54846"/>
                  </a:cubicBezTo>
                  <a:cubicBezTo>
                    <a:pt x="373015" y="236944"/>
                    <a:pt x="475737" y="437051"/>
                    <a:pt x="544440" y="649831"/>
                  </a:cubicBezTo>
                  <a:cubicBezTo>
                    <a:pt x="613143" y="861944"/>
                    <a:pt x="648495" y="1084063"/>
                    <a:pt x="648495" y="1309517"/>
                  </a:cubicBezTo>
                  <a:cubicBezTo>
                    <a:pt x="648495" y="1382889"/>
                    <a:pt x="589130" y="1442921"/>
                    <a:pt x="515091" y="1442921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Graphic 3">
              <a:extLst>
                <a:ext uri="{FF2B5EF4-FFF2-40B4-BE49-F238E27FC236}">
                  <a16:creationId xmlns:a16="http://schemas.microsoft.com/office/drawing/2014/main" id="{93DFC179-4E6E-4F6F-8007-87597BCA840B}"/>
                </a:ext>
              </a:extLst>
            </p:cNvPr>
            <p:cNvSpPr/>
            <p:nvPr userDrawn="1"/>
          </p:nvSpPr>
          <p:spPr>
            <a:xfrm>
              <a:off x="8910007" y="-303285"/>
              <a:ext cx="880491" cy="588362"/>
            </a:xfrm>
            <a:custGeom>
              <a:avLst/>
              <a:gdLst>
                <a:gd name="connsiteX0" fmla="*/ 691174 w 824728"/>
                <a:gd name="connsiteY0" fmla="*/ 551100 h 551100"/>
                <a:gd name="connsiteX1" fmla="*/ 612465 w 824728"/>
                <a:gd name="connsiteY1" fmla="*/ 525754 h 551100"/>
                <a:gd name="connsiteX2" fmla="*/ 92188 w 824728"/>
                <a:gd name="connsiteY2" fmla="*/ 260278 h 551100"/>
                <a:gd name="connsiteX3" fmla="*/ 6810 w 824728"/>
                <a:gd name="connsiteY3" fmla="*/ 92189 h 551100"/>
                <a:gd name="connsiteX4" fmla="*/ 174899 w 824728"/>
                <a:gd name="connsiteY4" fmla="*/ 6810 h 551100"/>
                <a:gd name="connsiteX5" fmla="*/ 769882 w 824728"/>
                <a:gd name="connsiteY5" fmla="*/ 310305 h 551100"/>
                <a:gd name="connsiteX6" fmla="*/ 799231 w 824728"/>
                <a:gd name="connsiteY6" fmla="*/ 496405 h 551100"/>
                <a:gd name="connsiteX7" fmla="*/ 691174 w 824728"/>
                <a:gd name="connsiteY7" fmla="*/ 551100 h 55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24728" h="551100">
                  <a:moveTo>
                    <a:pt x="691174" y="551100"/>
                  </a:moveTo>
                  <a:cubicBezTo>
                    <a:pt x="663826" y="551100"/>
                    <a:pt x="636478" y="543096"/>
                    <a:pt x="612465" y="525754"/>
                  </a:cubicBezTo>
                  <a:cubicBezTo>
                    <a:pt x="453714" y="409692"/>
                    <a:pt x="278287" y="320311"/>
                    <a:pt x="92188" y="260278"/>
                  </a:cubicBezTo>
                  <a:cubicBezTo>
                    <a:pt x="22151" y="237600"/>
                    <a:pt x="-16536" y="162226"/>
                    <a:pt x="6810" y="92189"/>
                  </a:cubicBezTo>
                  <a:cubicBezTo>
                    <a:pt x="29489" y="22151"/>
                    <a:pt x="104862" y="-16536"/>
                    <a:pt x="174899" y="6810"/>
                  </a:cubicBezTo>
                  <a:cubicBezTo>
                    <a:pt x="387679" y="76180"/>
                    <a:pt x="588452" y="178235"/>
                    <a:pt x="769882" y="310305"/>
                  </a:cubicBezTo>
                  <a:cubicBezTo>
                    <a:pt x="829247" y="353662"/>
                    <a:pt x="842587" y="437040"/>
                    <a:pt x="799231" y="496405"/>
                  </a:cubicBezTo>
                  <a:cubicBezTo>
                    <a:pt x="773217" y="531757"/>
                    <a:pt x="732529" y="551100"/>
                    <a:pt x="691174" y="55110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Graphic 3">
              <a:extLst>
                <a:ext uri="{FF2B5EF4-FFF2-40B4-BE49-F238E27FC236}">
                  <a16:creationId xmlns:a16="http://schemas.microsoft.com/office/drawing/2014/main" id="{F746B7F8-9BF9-4D73-90FD-977637BBDBDE}"/>
                </a:ext>
              </a:extLst>
            </p:cNvPr>
            <p:cNvSpPr/>
            <p:nvPr/>
          </p:nvSpPr>
          <p:spPr>
            <a:xfrm>
              <a:off x="6994388" y="-407106"/>
              <a:ext cx="1540479" cy="692183"/>
            </a:xfrm>
            <a:custGeom>
              <a:avLst/>
              <a:gdLst>
                <a:gd name="connsiteX0" fmla="*/ 133555 w 1442917"/>
                <a:gd name="connsiteY0" fmla="*/ 648346 h 648346"/>
                <a:gd name="connsiteX1" fmla="*/ 25497 w 1442917"/>
                <a:gd name="connsiteY1" fmla="*/ 593650 h 648346"/>
                <a:gd name="connsiteX2" fmla="*/ 54846 w 1442917"/>
                <a:gd name="connsiteY2" fmla="*/ 407551 h 648346"/>
                <a:gd name="connsiteX3" fmla="*/ 649829 w 1442917"/>
                <a:gd name="connsiteY3" fmla="*/ 104056 h 648346"/>
                <a:gd name="connsiteX4" fmla="*/ 1309513 w 1442917"/>
                <a:gd name="connsiteY4" fmla="*/ 0 h 648346"/>
                <a:gd name="connsiteX5" fmla="*/ 1442918 w 1442917"/>
                <a:gd name="connsiteY5" fmla="*/ 133405 h 648346"/>
                <a:gd name="connsiteX6" fmla="*/ 1309513 w 1442917"/>
                <a:gd name="connsiteY6" fmla="*/ 266809 h 648346"/>
                <a:gd name="connsiteX7" fmla="*/ 731873 w 1442917"/>
                <a:gd name="connsiteY7" fmla="*/ 357524 h 648346"/>
                <a:gd name="connsiteX8" fmla="*/ 211596 w 1442917"/>
                <a:gd name="connsiteY8" fmla="*/ 622999 h 648346"/>
                <a:gd name="connsiteX9" fmla="*/ 133555 w 1442917"/>
                <a:gd name="connsiteY9" fmla="*/ 648346 h 64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2917" h="648346">
                  <a:moveTo>
                    <a:pt x="133555" y="648346"/>
                  </a:moveTo>
                  <a:cubicBezTo>
                    <a:pt x="92200" y="648346"/>
                    <a:pt x="51511" y="629003"/>
                    <a:pt x="25497" y="593650"/>
                  </a:cubicBezTo>
                  <a:cubicBezTo>
                    <a:pt x="-17859" y="534285"/>
                    <a:pt x="-4519" y="450907"/>
                    <a:pt x="54846" y="407551"/>
                  </a:cubicBezTo>
                  <a:cubicBezTo>
                    <a:pt x="236943" y="275480"/>
                    <a:pt x="437049" y="172759"/>
                    <a:pt x="649829" y="104056"/>
                  </a:cubicBezTo>
                  <a:cubicBezTo>
                    <a:pt x="861942" y="35352"/>
                    <a:pt x="1084060" y="0"/>
                    <a:pt x="1309513" y="0"/>
                  </a:cubicBezTo>
                  <a:cubicBezTo>
                    <a:pt x="1382886" y="0"/>
                    <a:pt x="1442918" y="60032"/>
                    <a:pt x="1442918" y="133405"/>
                  </a:cubicBezTo>
                  <a:cubicBezTo>
                    <a:pt x="1442918" y="206777"/>
                    <a:pt x="1382886" y="266809"/>
                    <a:pt x="1309513" y="266809"/>
                  </a:cubicBezTo>
                  <a:cubicBezTo>
                    <a:pt x="1112075" y="266809"/>
                    <a:pt x="917972" y="297492"/>
                    <a:pt x="731873" y="357524"/>
                  </a:cubicBezTo>
                  <a:cubicBezTo>
                    <a:pt x="545774" y="418223"/>
                    <a:pt x="370347" y="507604"/>
                    <a:pt x="211596" y="622999"/>
                  </a:cubicBezTo>
                  <a:cubicBezTo>
                    <a:pt x="188251" y="639675"/>
                    <a:pt x="160903" y="648346"/>
                    <a:pt x="133555" y="648346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Graphic 3">
              <a:extLst>
                <a:ext uri="{FF2B5EF4-FFF2-40B4-BE49-F238E27FC236}">
                  <a16:creationId xmlns:a16="http://schemas.microsoft.com/office/drawing/2014/main" id="{2545ADF2-AAA4-4DD7-855B-98184C61F549}"/>
                </a:ext>
              </a:extLst>
            </p:cNvPr>
            <p:cNvSpPr/>
            <p:nvPr/>
          </p:nvSpPr>
          <p:spPr>
            <a:xfrm>
              <a:off x="6994388" y="3457426"/>
              <a:ext cx="1540479" cy="692345"/>
            </a:xfrm>
            <a:custGeom>
              <a:avLst/>
              <a:gdLst>
                <a:gd name="connsiteX0" fmla="*/ 1309513 w 1442917"/>
                <a:gd name="connsiteY0" fmla="*/ 648497 h 648497"/>
                <a:gd name="connsiteX1" fmla="*/ 649829 w 1442917"/>
                <a:gd name="connsiteY1" fmla="*/ 544442 h 648497"/>
                <a:gd name="connsiteX2" fmla="*/ 54846 w 1442917"/>
                <a:gd name="connsiteY2" fmla="*/ 240946 h 648497"/>
                <a:gd name="connsiteX3" fmla="*/ 25497 w 1442917"/>
                <a:gd name="connsiteY3" fmla="*/ 54847 h 648497"/>
                <a:gd name="connsiteX4" fmla="*/ 211596 w 1442917"/>
                <a:gd name="connsiteY4" fmla="*/ 25498 h 648497"/>
                <a:gd name="connsiteX5" fmla="*/ 731873 w 1442917"/>
                <a:gd name="connsiteY5" fmla="*/ 290973 h 648497"/>
                <a:gd name="connsiteX6" fmla="*/ 1309513 w 1442917"/>
                <a:gd name="connsiteY6" fmla="*/ 381688 h 648497"/>
                <a:gd name="connsiteX7" fmla="*/ 1442918 w 1442917"/>
                <a:gd name="connsiteY7" fmla="*/ 515093 h 648497"/>
                <a:gd name="connsiteX8" fmla="*/ 1309513 w 1442917"/>
                <a:gd name="connsiteY8" fmla="*/ 648497 h 64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2917" h="648497">
                  <a:moveTo>
                    <a:pt x="1309513" y="648497"/>
                  </a:moveTo>
                  <a:cubicBezTo>
                    <a:pt x="1084060" y="648497"/>
                    <a:pt x="861942" y="613812"/>
                    <a:pt x="649829" y="544442"/>
                  </a:cubicBezTo>
                  <a:cubicBezTo>
                    <a:pt x="437049" y="475071"/>
                    <a:pt x="236276" y="373017"/>
                    <a:pt x="54846" y="240946"/>
                  </a:cubicBezTo>
                  <a:cubicBezTo>
                    <a:pt x="-4519" y="197590"/>
                    <a:pt x="-17859" y="114212"/>
                    <a:pt x="25497" y="54847"/>
                  </a:cubicBezTo>
                  <a:cubicBezTo>
                    <a:pt x="68854" y="-4519"/>
                    <a:pt x="152232" y="-17859"/>
                    <a:pt x="211596" y="25498"/>
                  </a:cubicBezTo>
                  <a:cubicBezTo>
                    <a:pt x="370347" y="141560"/>
                    <a:pt x="545774" y="230941"/>
                    <a:pt x="731873" y="290973"/>
                  </a:cubicBezTo>
                  <a:cubicBezTo>
                    <a:pt x="917972" y="351005"/>
                    <a:pt x="1112075" y="381688"/>
                    <a:pt x="1309513" y="381688"/>
                  </a:cubicBezTo>
                  <a:cubicBezTo>
                    <a:pt x="1382886" y="381688"/>
                    <a:pt x="1442918" y="441720"/>
                    <a:pt x="1442918" y="515093"/>
                  </a:cubicBezTo>
                  <a:cubicBezTo>
                    <a:pt x="1442918" y="588465"/>
                    <a:pt x="1383553" y="648497"/>
                    <a:pt x="1309513" y="648497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Graphic 3">
              <a:extLst>
                <a:ext uri="{FF2B5EF4-FFF2-40B4-BE49-F238E27FC236}">
                  <a16:creationId xmlns:a16="http://schemas.microsoft.com/office/drawing/2014/main" id="{A143A5AD-9C4F-4749-A783-55D6326074B3}"/>
                </a:ext>
              </a:extLst>
            </p:cNvPr>
            <p:cNvSpPr/>
            <p:nvPr userDrawn="1"/>
          </p:nvSpPr>
          <p:spPr>
            <a:xfrm>
              <a:off x="10351499" y="2228157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Graphic 3">
              <a:extLst>
                <a:ext uri="{FF2B5EF4-FFF2-40B4-BE49-F238E27FC236}">
                  <a16:creationId xmlns:a16="http://schemas.microsoft.com/office/drawing/2014/main" id="{A523BA98-9C5D-4D70-9D77-F4D7837AB7EE}"/>
                </a:ext>
              </a:extLst>
            </p:cNvPr>
            <p:cNvSpPr/>
            <p:nvPr/>
          </p:nvSpPr>
          <p:spPr>
            <a:xfrm>
              <a:off x="11475185" y="3806944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Graphic 3">
              <a:extLst>
                <a:ext uri="{FF2B5EF4-FFF2-40B4-BE49-F238E27FC236}">
                  <a16:creationId xmlns:a16="http://schemas.microsoft.com/office/drawing/2014/main" id="{E0233462-A5ED-4A7C-BEB7-532614CCFF56}"/>
                </a:ext>
              </a:extLst>
            </p:cNvPr>
            <p:cNvSpPr/>
            <p:nvPr/>
          </p:nvSpPr>
          <p:spPr>
            <a:xfrm>
              <a:off x="10897654" y="5558768"/>
              <a:ext cx="284848" cy="284849"/>
            </a:xfrm>
            <a:custGeom>
              <a:avLst/>
              <a:gdLst>
                <a:gd name="connsiteX0" fmla="*/ 266808 w 266808"/>
                <a:gd name="connsiteY0" fmla="*/ 133405 h 266809"/>
                <a:gd name="connsiteX1" fmla="*/ 133404 w 266808"/>
                <a:gd name="connsiteY1" fmla="*/ 266810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8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8" y="133405"/>
                  </a:moveTo>
                  <a:cubicBezTo>
                    <a:pt x="266808" y="207082"/>
                    <a:pt x="207081" y="266810"/>
                    <a:pt x="133404" y="266810"/>
                  </a:cubicBezTo>
                  <a:cubicBezTo>
                    <a:pt x="59727" y="266810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8" y="59727"/>
                    <a:pt x="266808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Graphic 3">
              <a:extLst>
                <a:ext uri="{FF2B5EF4-FFF2-40B4-BE49-F238E27FC236}">
                  <a16:creationId xmlns:a16="http://schemas.microsoft.com/office/drawing/2014/main" id="{BA772913-A710-49AF-B8AC-6CA91ACD1985}"/>
                </a:ext>
              </a:extLst>
            </p:cNvPr>
            <p:cNvSpPr/>
            <p:nvPr/>
          </p:nvSpPr>
          <p:spPr>
            <a:xfrm>
              <a:off x="8418048" y="4289052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Graphic 3">
              <a:extLst>
                <a:ext uri="{FF2B5EF4-FFF2-40B4-BE49-F238E27FC236}">
                  <a16:creationId xmlns:a16="http://schemas.microsoft.com/office/drawing/2014/main" id="{A6F13F0E-9702-4338-BFE1-F3666BC42AF6}"/>
                </a:ext>
              </a:extLst>
            </p:cNvPr>
            <p:cNvSpPr/>
            <p:nvPr/>
          </p:nvSpPr>
          <p:spPr>
            <a:xfrm>
              <a:off x="9138035" y="3001828"/>
              <a:ext cx="284848" cy="284849"/>
            </a:xfrm>
            <a:custGeom>
              <a:avLst/>
              <a:gdLst>
                <a:gd name="connsiteX0" fmla="*/ 266808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8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8" y="133405"/>
                  </a:moveTo>
                  <a:cubicBezTo>
                    <a:pt x="266808" y="207082"/>
                    <a:pt x="207081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8" y="59727"/>
                    <a:pt x="266808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Graphic 3">
              <a:extLst>
                <a:ext uri="{FF2B5EF4-FFF2-40B4-BE49-F238E27FC236}">
                  <a16:creationId xmlns:a16="http://schemas.microsoft.com/office/drawing/2014/main" id="{15A3BF6D-E57F-4DF1-805D-ECBEFEEA5183}"/>
                </a:ext>
              </a:extLst>
            </p:cNvPr>
            <p:cNvSpPr/>
            <p:nvPr/>
          </p:nvSpPr>
          <p:spPr>
            <a:xfrm>
              <a:off x="9739065" y="1259262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Graphic 3">
              <a:extLst>
                <a:ext uri="{FF2B5EF4-FFF2-40B4-BE49-F238E27FC236}">
                  <a16:creationId xmlns:a16="http://schemas.microsoft.com/office/drawing/2014/main" id="{722C7427-5716-4E0D-8030-E695342D4C02}"/>
                </a:ext>
              </a:extLst>
            </p:cNvPr>
            <p:cNvSpPr/>
            <p:nvPr/>
          </p:nvSpPr>
          <p:spPr>
            <a:xfrm>
              <a:off x="7768625" y="235942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1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Graphic 3">
              <a:extLst>
                <a:ext uri="{FF2B5EF4-FFF2-40B4-BE49-F238E27FC236}">
                  <a16:creationId xmlns:a16="http://schemas.microsoft.com/office/drawing/2014/main" id="{FB13204B-3BFF-47BC-97AE-8DEC6E4EE5AA}"/>
                </a:ext>
              </a:extLst>
            </p:cNvPr>
            <p:cNvSpPr/>
            <p:nvPr/>
          </p:nvSpPr>
          <p:spPr>
            <a:xfrm>
              <a:off x="6765959" y="2230598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1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Graphic 3">
              <a:extLst>
                <a:ext uri="{FF2B5EF4-FFF2-40B4-BE49-F238E27FC236}">
                  <a16:creationId xmlns:a16="http://schemas.microsoft.com/office/drawing/2014/main" id="{16D1D68F-0079-4DE5-A841-D9BA3969DED3}"/>
                </a:ext>
              </a:extLst>
            </p:cNvPr>
            <p:cNvSpPr/>
            <p:nvPr/>
          </p:nvSpPr>
          <p:spPr>
            <a:xfrm>
              <a:off x="9775449" y="6463875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8"/>
                    <a:pt x="59727" y="0"/>
                    <a:pt x="133404" y="0"/>
                  </a:cubicBezTo>
                  <a:cubicBezTo>
                    <a:pt x="207082" y="0"/>
                    <a:pt x="266809" y="59728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1A70AE82-1FB6-4AAE-88ED-32ADB13BE3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693193" y="6242138"/>
              <a:ext cx="1116000" cy="224482"/>
            </a:xfrm>
            <a:prstGeom prst="rect">
              <a:avLst/>
            </a:prstGeom>
          </p:spPr>
        </p:pic>
      </p:grpSp>
      <p:sp>
        <p:nvSpPr>
          <p:cNvPr id="74" name="Graphic 3">
            <a:extLst>
              <a:ext uri="{FF2B5EF4-FFF2-40B4-BE49-F238E27FC236}">
                <a16:creationId xmlns:a16="http://schemas.microsoft.com/office/drawing/2014/main" id="{4C9E51F3-2BC7-4528-8560-933354FAC26C}"/>
              </a:ext>
            </a:extLst>
          </p:cNvPr>
          <p:cNvSpPr/>
          <p:nvPr/>
        </p:nvSpPr>
        <p:spPr>
          <a:xfrm>
            <a:off x="7110626" y="589154"/>
            <a:ext cx="2563636" cy="2563643"/>
          </a:xfrm>
          <a:custGeom>
            <a:avLst/>
            <a:gdLst>
              <a:gd name="connsiteX0" fmla="*/ 2401277 w 2401276"/>
              <a:gd name="connsiteY0" fmla="*/ 1200641 h 2401282"/>
              <a:gd name="connsiteX1" fmla="*/ 1200638 w 2401276"/>
              <a:gd name="connsiteY1" fmla="*/ 2401283 h 2401282"/>
              <a:gd name="connsiteX2" fmla="*/ 0 w 2401276"/>
              <a:gd name="connsiteY2" fmla="*/ 1200641 h 2401282"/>
              <a:gd name="connsiteX3" fmla="*/ 1200638 w 2401276"/>
              <a:gd name="connsiteY3" fmla="*/ 0 h 2401282"/>
              <a:gd name="connsiteX4" fmla="*/ 2401277 w 2401276"/>
              <a:gd name="connsiteY4" fmla="*/ 1200641 h 2401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1276" h="2401282">
                <a:moveTo>
                  <a:pt x="2401277" y="1200641"/>
                </a:moveTo>
                <a:cubicBezTo>
                  <a:pt x="2401277" y="1863737"/>
                  <a:pt x="1863732" y="2401283"/>
                  <a:pt x="1200638" y="2401283"/>
                </a:cubicBezTo>
                <a:cubicBezTo>
                  <a:pt x="537544" y="2401283"/>
                  <a:pt x="0" y="1863737"/>
                  <a:pt x="0" y="1200641"/>
                </a:cubicBezTo>
                <a:cubicBezTo>
                  <a:pt x="0" y="537545"/>
                  <a:pt x="537544" y="0"/>
                  <a:pt x="1200638" y="0"/>
                </a:cubicBezTo>
                <a:cubicBezTo>
                  <a:pt x="1863732" y="0"/>
                  <a:pt x="2401277" y="537545"/>
                  <a:pt x="2401277" y="1200641"/>
                </a:cubicBezTo>
                <a:close/>
              </a:path>
            </a:pathLst>
          </a:custGeom>
          <a:solidFill>
            <a:schemeClr val="bg1"/>
          </a:solidFill>
          <a:ln w="666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3" name="Graphic 3">
            <a:extLst>
              <a:ext uri="{FF2B5EF4-FFF2-40B4-BE49-F238E27FC236}">
                <a16:creationId xmlns:a16="http://schemas.microsoft.com/office/drawing/2014/main" id="{1EB489A0-CE2A-4205-99AC-A6B973F53D37}"/>
              </a:ext>
            </a:extLst>
          </p:cNvPr>
          <p:cNvSpPr/>
          <p:nvPr userDrawn="1"/>
        </p:nvSpPr>
        <p:spPr>
          <a:xfrm>
            <a:off x="8846745" y="3149655"/>
            <a:ext cx="2563636" cy="2563643"/>
          </a:xfrm>
          <a:custGeom>
            <a:avLst/>
            <a:gdLst>
              <a:gd name="connsiteX0" fmla="*/ 2401277 w 2401276"/>
              <a:gd name="connsiteY0" fmla="*/ 1200641 h 2401282"/>
              <a:gd name="connsiteX1" fmla="*/ 1200638 w 2401276"/>
              <a:gd name="connsiteY1" fmla="*/ 2401283 h 2401282"/>
              <a:gd name="connsiteX2" fmla="*/ 0 w 2401276"/>
              <a:gd name="connsiteY2" fmla="*/ 1200641 h 2401282"/>
              <a:gd name="connsiteX3" fmla="*/ 1200638 w 2401276"/>
              <a:gd name="connsiteY3" fmla="*/ 0 h 2401282"/>
              <a:gd name="connsiteX4" fmla="*/ 2401277 w 2401276"/>
              <a:gd name="connsiteY4" fmla="*/ 1200641 h 2401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1276" h="2401282">
                <a:moveTo>
                  <a:pt x="2401277" y="1200641"/>
                </a:moveTo>
                <a:cubicBezTo>
                  <a:pt x="2401277" y="1863737"/>
                  <a:pt x="1863732" y="2401283"/>
                  <a:pt x="1200638" y="2401283"/>
                </a:cubicBezTo>
                <a:cubicBezTo>
                  <a:pt x="537544" y="2401283"/>
                  <a:pt x="0" y="1863737"/>
                  <a:pt x="0" y="1200641"/>
                </a:cubicBezTo>
                <a:cubicBezTo>
                  <a:pt x="0" y="537545"/>
                  <a:pt x="537544" y="0"/>
                  <a:pt x="1200638" y="0"/>
                </a:cubicBezTo>
                <a:cubicBezTo>
                  <a:pt x="1863732" y="0"/>
                  <a:pt x="2401277" y="537545"/>
                  <a:pt x="2401277" y="1200641"/>
                </a:cubicBezTo>
                <a:close/>
              </a:path>
            </a:pathLst>
          </a:custGeom>
          <a:solidFill>
            <a:schemeClr val="tx1"/>
          </a:solidFill>
          <a:ln w="666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B7AF8B-4C0D-448F-934D-760AF204C71C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991987" y="598516"/>
            <a:ext cx="10208027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1987" y="1425568"/>
            <a:ext cx="5400000" cy="488955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 userDrawn="1">
            <p:ph type="chart" sz="quarter" idx="29"/>
          </p:nvPr>
        </p:nvSpPr>
        <p:spPr>
          <a:xfrm>
            <a:off x="992188" y="1924046"/>
            <a:ext cx="5400000" cy="3936347"/>
          </a:xfrm>
        </p:spPr>
        <p:txBody>
          <a:bodyPr anchor="ctr">
            <a:normAutofit/>
          </a:bodyPr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46214-B998-47A4-9A3D-E1277D43D35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7371841" y="1094871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tx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31A405-9556-48CE-8FA1-466D74FB4A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7364963" y="1888670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2FABA672-7054-46D6-8734-1C46875CE04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725CC624-90B2-47BF-AFAB-A943331BACD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9098542" y="3678766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A542C347-035C-40A9-94A9-8FF5F71033D5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9091664" y="4472565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8832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 Callout 3 - Whi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B7A3B7A-4054-48A4-B3DD-CF65A2620912}"/>
              </a:ext>
            </a:extLst>
          </p:cNvPr>
          <p:cNvGrpSpPr/>
          <p:nvPr userDrawn="1"/>
        </p:nvGrpSpPr>
        <p:grpSpPr>
          <a:xfrm rot="2700000">
            <a:off x="6943940" y="318609"/>
            <a:ext cx="5590112" cy="5450237"/>
            <a:chOff x="6059431" y="181018"/>
            <a:chExt cx="6112494" cy="5959548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C2664148-1A4E-4F55-BD71-B54251F10C25}"/>
                </a:ext>
              </a:extLst>
            </p:cNvPr>
            <p:cNvGrpSpPr/>
            <p:nvPr userDrawn="1"/>
          </p:nvGrpSpPr>
          <p:grpSpPr>
            <a:xfrm>
              <a:off x="6059431" y="181018"/>
              <a:ext cx="6112494" cy="5959548"/>
              <a:chOff x="6059431" y="181018"/>
              <a:chExt cx="6112494" cy="5959548"/>
            </a:xfrm>
          </p:grpSpPr>
          <p:sp>
            <p:nvSpPr>
              <p:cNvPr id="95" name="Graphic 3">
                <a:extLst>
                  <a:ext uri="{FF2B5EF4-FFF2-40B4-BE49-F238E27FC236}">
                    <a16:creationId xmlns:a16="http://schemas.microsoft.com/office/drawing/2014/main" id="{927F663D-59A8-48E2-8F13-ECA8DA1F9D17}"/>
                  </a:ext>
                </a:extLst>
              </p:cNvPr>
              <p:cNvSpPr/>
              <p:nvPr/>
            </p:nvSpPr>
            <p:spPr>
              <a:xfrm>
                <a:off x="9886593" y="480661"/>
                <a:ext cx="631261" cy="631102"/>
              </a:xfrm>
              <a:custGeom>
                <a:avLst/>
                <a:gdLst>
                  <a:gd name="connsiteX0" fmla="*/ 458394 w 591282"/>
                  <a:gd name="connsiteY0" fmla="*/ 591133 h 591133"/>
                  <a:gd name="connsiteX1" fmla="*/ 350337 w 591282"/>
                  <a:gd name="connsiteY1" fmla="*/ 536437 h 591133"/>
                  <a:gd name="connsiteX2" fmla="*/ 54846 w 591282"/>
                  <a:gd name="connsiteY2" fmla="*/ 240946 h 591133"/>
                  <a:gd name="connsiteX3" fmla="*/ 25497 w 591282"/>
                  <a:gd name="connsiteY3" fmla="*/ 54846 h 591133"/>
                  <a:gd name="connsiteX4" fmla="*/ 211596 w 591282"/>
                  <a:gd name="connsiteY4" fmla="*/ 25498 h 591133"/>
                  <a:gd name="connsiteX5" fmla="*/ 565785 w 591282"/>
                  <a:gd name="connsiteY5" fmla="*/ 379687 h 591133"/>
                  <a:gd name="connsiteX6" fmla="*/ 536436 w 591282"/>
                  <a:gd name="connsiteY6" fmla="*/ 565786 h 591133"/>
                  <a:gd name="connsiteX7" fmla="*/ 458394 w 591282"/>
                  <a:gd name="connsiteY7" fmla="*/ 591133 h 591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1282" h="591133">
                    <a:moveTo>
                      <a:pt x="458394" y="591133"/>
                    </a:moveTo>
                    <a:cubicBezTo>
                      <a:pt x="417039" y="591133"/>
                      <a:pt x="376351" y="571789"/>
                      <a:pt x="350337" y="536437"/>
                    </a:cubicBezTo>
                    <a:cubicBezTo>
                      <a:pt x="267626" y="423043"/>
                      <a:pt x="168240" y="323657"/>
                      <a:pt x="54846" y="240946"/>
                    </a:cubicBezTo>
                    <a:cubicBezTo>
                      <a:pt x="-4518" y="197590"/>
                      <a:pt x="-17859" y="114212"/>
                      <a:pt x="25497" y="54846"/>
                    </a:cubicBezTo>
                    <a:cubicBezTo>
                      <a:pt x="68854" y="-4519"/>
                      <a:pt x="152232" y="-17859"/>
                      <a:pt x="211596" y="25498"/>
                    </a:cubicBezTo>
                    <a:cubicBezTo>
                      <a:pt x="347669" y="124217"/>
                      <a:pt x="466398" y="243614"/>
                      <a:pt x="565785" y="379687"/>
                    </a:cubicBezTo>
                    <a:cubicBezTo>
                      <a:pt x="609141" y="439052"/>
                      <a:pt x="595801" y="522430"/>
                      <a:pt x="536436" y="565786"/>
                    </a:cubicBezTo>
                    <a:cubicBezTo>
                      <a:pt x="513090" y="582462"/>
                      <a:pt x="485742" y="591133"/>
                      <a:pt x="458394" y="591133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6" name="Graphic 3">
                <a:extLst>
                  <a:ext uri="{FF2B5EF4-FFF2-40B4-BE49-F238E27FC236}">
                    <a16:creationId xmlns:a16="http://schemas.microsoft.com/office/drawing/2014/main" id="{FE5866C9-58D7-4A56-902F-FCF90D7DD003}"/>
                  </a:ext>
                </a:extLst>
              </p:cNvPr>
              <p:cNvSpPr/>
              <p:nvPr userDrawn="1"/>
            </p:nvSpPr>
            <p:spPr>
              <a:xfrm>
                <a:off x="8965981" y="181018"/>
                <a:ext cx="769239" cy="361046"/>
              </a:xfrm>
              <a:custGeom>
                <a:avLst/>
                <a:gdLst>
                  <a:gd name="connsiteX0" fmla="*/ 586979 w 720522"/>
                  <a:gd name="connsiteY0" fmla="*/ 338181 h 338180"/>
                  <a:gd name="connsiteX1" fmla="*/ 545624 w 720522"/>
                  <a:gd name="connsiteY1" fmla="*/ 331511 h 338180"/>
                  <a:gd name="connsiteX2" fmla="*/ 133404 w 720522"/>
                  <a:gd name="connsiteY2" fmla="*/ 266809 h 338180"/>
                  <a:gd name="connsiteX3" fmla="*/ 0 w 720522"/>
                  <a:gd name="connsiteY3" fmla="*/ 133405 h 338180"/>
                  <a:gd name="connsiteX4" fmla="*/ 133404 w 720522"/>
                  <a:gd name="connsiteY4" fmla="*/ 0 h 338180"/>
                  <a:gd name="connsiteX5" fmla="*/ 628334 w 720522"/>
                  <a:gd name="connsiteY5" fmla="*/ 78042 h 338180"/>
                  <a:gd name="connsiteX6" fmla="*/ 713713 w 720522"/>
                  <a:gd name="connsiteY6" fmla="*/ 246131 h 338180"/>
                  <a:gd name="connsiteX7" fmla="*/ 586979 w 720522"/>
                  <a:gd name="connsiteY7" fmla="*/ 338181 h 338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0522" h="338180">
                    <a:moveTo>
                      <a:pt x="586979" y="338181"/>
                    </a:moveTo>
                    <a:cubicBezTo>
                      <a:pt x="573638" y="338181"/>
                      <a:pt x="559631" y="336180"/>
                      <a:pt x="545624" y="331511"/>
                    </a:cubicBezTo>
                    <a:cubicBezTo>
                      <a:pt x="412886" y="288154"/>
                      <a:pt x="274146" y="266809"/>
                      <a:pt x="133404" y="266809"/>
                    </a:cubicBezTo>
                    <a:cubicBezTo>
                      <a:pt x="60032" y="266809"/>
                      <a:pt x="0" y="206777"/>
                      <a:pt x="0" y="133405"/>
                    </a:cubicBezTo>
                    <a:cubicBezTo>
                      <a:pt x="0" y="60032"/>
                      <a:pt x="60032" y="0"/>
                      <a:pt x="133404" y="0"/>
                    </a:cubicBezTo>
                    <a:cubicBezTo>
                      <a:pt x="302161" y="0"/>
                      <a:pt x="468916" y="26014"/>
                      <a:pt x="628334" y="78042"/>
                    </a:cubicBezTo>
                    <a:cubicBezTo>
                      <a:pt x="698371" y="100721"/>
                      <a:pt x="737058" y="176094"/>
                      <a:pt x="713713" y="246131"/>
                    </a:cubicBezTo>
                    <a:cubicBezTo>
                      <a:pt x="695703" y="302161"/>
                      <a:pt x="643009" y="338181"/>
                      <a:pt x="586979" y="338181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7" name="Graphic 3">
                <a:extLst>
                  <a:ext uri="{FF2B5EF4-FFF2-40B4-BE49-F238E27FC236}">
                    <a16:creationId xmlns:a16="http://schemas.microsoft.com/office/drawing/2014/main" id="{803BB914-6364-4AD9-8A20-68883120CE8E}"/>
                  </a:ext>
                </a:extLst>
              </p:cNvPr>
              <p:cNvSpPr/>
              <p:nvPr/>
            </p:nvSpPr>
            <p:spPr>
              <a:xfrm>
                <a:off x="7399314" y="479949"/>
                <a:ext cx="930191" cy="1552589"/>
              </a:xfrm>
              <a:custGeom>
                <a:avLst/>
                <a:gdLst>
                  <a:gd name="connsiteX0" fmla="*/ 133404 w 871280"/>
                  <a:gd name="connsiteY0" fmla="*/ 1454261 h 1454260"/>
                  <a:gd name="connsiteX1" fmla="*/ 0 w 871280"/>
                  <a:gd name="connsiteY1" fmla="*/ 1320856 h 1454260"/>
                  <a:gd name="connsiteX2" fmla="*/ 78041 w 871280"/>
                  <a:gd name="connsiteY2" fmla="*/ 825925 h 1454260"/>
                  <a:gd name="connsiteX3" fmla="*/ 305496 w 871280"/>
                  <a:gd name="connsiteY3" fmla="*/ 379687 h 1454260"/>
                  <a:gd name="connsiteX4" fmla="*/ 659684 w 871280"/>
                  <a:gd name="connsiteY4" fmla="*/ 25498 h 1454260"/>
                  <a:gd name="connsiteX5" fmla="*/ 845783 w 871280"/>
                  <a:gd name="connsiteY5" fmla="*/ 54847 h 1454260"/>
                  <a:gd name="connsiteX6" fmla="*/ 816434 w 871280"/>
                  <a:gd name="connsiteY6" fmla="*/ 240946 h 1454260"/>
                  <a:gd name="connsiteX7" fmla="*/ 520944 w 871280"/>
                  <a:gd name="connsiteY7" fmla="*/ 536437 h 1454260"/>
                  <a:gd name="connsiteX8" fmla="*/ 331509 w 871280"/>
                  <a:gd name="connsiteY8" fmla="*/ 907969 h 1454260"/>
                  <a:gd name="connsiteX9" fmla="*/ 266809 w 871280"/>
                  <a:gd name="connsiteY9" fmla="*/ 1320189 h 1454260"/>
                  <a:gd name="connsiteX10" fmla="*/ 133404 w 871280"/>
                  <a:gd name="connsiteY10" fmla="*/ 1454261 h 1454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71280" h="1454260">
                    <a:moveTo>
                      <a:pt x="133404" y="1454261"/>
                    </a:moveTo>
                    <a:cubicBezTo>
                      <a:pt x="60032" y="1454261"/>
                      <a:pt x="0" y="1394229"/>
                      <a:pt x="0" y="1320856"/>
                    </a:cubicBezTo>
                    <a:cubicBezTo>
                      <a:pt x="0" y="1152100"/>
                      <a:pt x="26014" y="985344"/>
                      <a:pt x="78041" y="825925"/>
                    </a:cubicBezTo>
                    <a:cubicBezTo>
                      <a:pt x="130069" y="665840"/>
                      <a:pt x="206777" y="515759"/>
                      <a:pt x="305496" y="379687"/>
                    </a:cubicBezTo>
                    <a:cubicBezTo>
                      <a:pt x="404215" y="243614"/>
                      <a:pt x="523612" y="124884"/>
                      <a:pt x="659684" y="25498"/>
                    </a:cubicBezTo>
                    <a:cubicBezTo>
                      <a:pt x="719049" y="-17859"/>
                      <a:pt x="802427" y="-4519"/>
                      <a:pt x="845783" y="54847"/>
                    </a:cubicBezTo>
                    <a:cubicBezTo>
                      <a:pt x="889139" y="114212"/>
                      <a:pt x="875799" y="197590"/>
                      <a:pt x="816434" y="240946"/>
                    </a:cubicBezTo>
                    <a:cubicBezTo>
                      <a:pt x="703040" y="323657"/>
                      <a:pt x="603654" y="423043"/>
                      <a:pt x="520944" y="536437"/>
                    </a:cubicBezTo>
                    <a:cubicBezTo>
                      <a:pt x="438233" y="649831"/>
                      <a:pt x="374199" y="775232"/>
                      <a:pt x="331509" y="907969"/>
                    </a:cubicBezTo>
                    <a:cubicBezTo>
                      <a:pt x="288153" y="1040707"/>
                      <a:pt x="266809" y="1179447"/>
                      <a:pt x="266809" y="1320189"/>
                    </a:cubicBezTo>
                    <a:cubicBezTo>
                      <a:pt x="266809" y="1394229"/>
                      <a:pt x="207444" y="1454261"/>
                      <a:pt x="133404" y="1454261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8" name="Graphic 3">
                <a:extLst>
                  <a:ext uri="{FF2B5EF4-FFF2-40B4-BE49-F238E27FC236}">
                    <a16:creationId xmlns:a16="http://schemas.microsoft.com/office/drawing/2014/main" id="{519067CD-7AE4-41D0-8C6D-B9B9C7735C4E}"/>
                  </a:ext>
                </a:extLst>
              </p:cNvPr>
              <p:cNvSpPr/>
              <p:nvPr/>
            </p:nvSpPr>
            <p:spPr>
              <a:xfrm>
                <a:off x="10455026" y="1278399"/>
                <a:ext cx="284848" cy="284849"/>
              </a:xfrm>
              <a:custGeom>
                <a:avLst/>
                <a:gdLst>
                  <a:gd name="connsiteX0" fmla="*/ 266809 w 266808"/>
                  <a:gd name="connsiteY0" fmla="*/ 133405 h 266809"/>
                  <a:gd name="connsiteX1" fmla="*/ 133404 w 266808"/>
                  <a:gd name="connsiteY1" fmla="*/ 266809 h 266809"/>
                  <a:gd name="connsiteX2" fmla="*/ 0 w 266808"/>
                  <a:gd name="connsiteY2" fmla="*/ 133405 h 266809"/>
                  <a:gd name="connsiteX3" fmla="*/ 133404 w 266808"/>
                  <a:gd name="connsiteY3" fmla="*/ 0 h 266809"/>
                  <a:gd name="connsiteX4" fmla="*/ 266809 w 266808"/>
                  <a:gd name="connsiteY4" fmla="*/ 133405 h 26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808" h="266809">
                    <a:moveTo>
                      <a:pt x="266809" y="133405"/>
                    </a:moveTo>
                    <a:cubicBezTo>
                      <a:pt x="266809" y="207082"/>
                      <a:pt x="207082" y="266809"/>
                      <a:pt x="133404" y="266809"/>
                    </a:cubicBezTo>
                    <a:cubicBezTo>
                      <a:pt x="59727" y="266809"/>
                      <a:pt x="0" y="207082"/>
                      <a:pt x="0" y="133405"/>
                    </a:cubicBezTo>
                    <a:cubicBezTo>
                      <a:pt x="0" y="59727"/>
                      <a:pt x="59727" y="0"/>
                      <a:pt x="133404" y="0"/>
                    </a:cubicBezTo>
                    <a:cubicBezTo>
                      <a:pt x="207082" y="0"/>
                      <a:pt x="266809" y="59727"/>
                      <a:pt x="266809" y="133405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9" name="Graphic 3">
                <a:extLst>
                  <a:ext uri="{FF2B5EF4-FFF2-40B4-BE49-F238E27FC236}">
                    <a16:creationId xmlns:a16="http://schemas.microsoft.com/office/drawing/2014/main" id="{C39A138D-9EC3-40C2-9F4D-7B85C52297FA}"/>
                  </a:ext>
                </a:extLst>
              </p:cNvPr>
              <p:cNvSpPr/>
              <p:nvPr/>
            </p:nvSpPr>
            <p:spPr>
              <a:xfrm>
                <a:off x="8484586" y="255079"/>
                <a:ext cx="284848" cy="284849"/>
              </a:xfrm>
              <a:custGeom>
                <a:avLst/>
                <a:gdLst>
                  <a:gd name="connsiteX0" fmla="*/ 266809 w 266808"/>
                  <a:gd name="connsiteY0" fmla="*/ 133405 h 266809"/>
                  <a:gd name="connsiteX1" fmla="*/ 133404 w 266808"/>
                  <a:gd name="connsiteY1" fmla="*/ 266809 h 266809"/>
                  <a:gd name="connsiteX2" fmla="*/ 0 w 266808"/>
                  <a:gd name="connsiteY2" fmla="*/ 133405 h 266809"/>
                  <a:gd name="connsiteX3" fmla="*/ 133404 w 266808"/>
                  <a:gd name="connsiteY3" fmla="*/ 0 h 266809"/>
                  <a:gd name="connsiteX4" fmla="*/ 266809 w 266808"/>
                  <a:gd name="connsiteY4" fmla="*/ 133405 h 26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808" h="266809">
                    <a:moveTo>
                      <a:pt x="266809" y="133405"/>
                    </a:moveTo>
                    <a:cubicBezTo>
                      <a:pt x="266809" y="207082"/>
                      <a:pt x="207081" y="266809"/>
                      <a:pt x="133404" y="266809"/>
                    </a:cubicBezTo>
                    <a:cubicBezTo>
                      <a:pt x="59727" y="266809"/>
                      <a:pt x="0" y="207082"/>
                      <a:pt x="0" y="133405"/>
                    </a:cubicBezTo>
                    <a:cubicBezTo>
                      <a:pt x="0" y="59727"/>
                      <a:pt x="59727" y="0"/>
                      <a:pt x="133404" y="0"/>
                    </a:cubicBezTo>
                    <a:cubicBezTo>
                      <a:pt x="207081" y="0"/>
                      <a:pt x="266809" y="59727"/>
                      <a:pt x="266809" y="133405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0" name="Graphic 3">
                <a:extLst>
                  <a:ext uri="{FF2B5EF4-FFF2-40B4-BE49-F238E27FC236}">
                    <a16:creationId xmlns:a16="http://schemas.microsoft.com/office/drawing/2014/main" id="{D7EEDCDC-08EB-4732-BCEE-60699985BD9C}"/>
                  </a:ext>
                </a:extLst>
              </p:cNvPr>
              <p:cNvSpPr/>
              <p:nvPr/>
            </p:nvSpPr>
            <p:spPr>
              <a:xfrm>
                <a:off x="7481920" y="2249735"/>
                <a:ext cx="284848" cy="284849"/>
              </a:xfrm>
              <a:custGeom>
                <a:avLst/>
                <a:gdLst>
                  <a:gd name="connsiteX0" fmla="*/ 266809 w 266808"/>
                  <a:gd name="connsiteY0" fmla="*/ 133405 h 266809"/>
                  <a:gd name="connsiteX1" fmla="*/ 133404 w 266808"/>
                  <a:gd name="connsiteY1" fmla="*/ 266809 h 266809"/>
                  <a:gd name="connsiteX2" fmla="*/ 0 w 266808"/>
                  <a:gd name="connsiteY2" fmla="*/ 133405 h 266809"/>
                  <a:gd name="connsiteX3" fmla="*/ 133404 w 266808"/>
                  <a:gd name="connsiteY3" fmla="*/ 0 h 266809"/>
                  <a:gd name="connsiteX4" fmla="*/ 266809 w 266808"/>
                  <a:gd name="connsiteY4" fmla="*/ 133405 h 26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808" h="266809">
                    <a:moveTo>
                      <a:pt x="266809" y="133405"/>
                    </a:moveTo>
                    <a:cubicBezTo>
                      <a:pt x="266809" y="207082"/>
                      <a:pt x="207081" y="266809"/>
                      <a:pt x="133404" y="266809"/>
                    </a:cubicBezTo>
                    <a:cubicBezTo>
                      <a:pt x="59727" y="266809"/>
                      <a:pt x="0" y="207082"/>
                      <a:pt x="0" y="133405"/>
                    </a:cubicBezTo>
                    <a:cubicBezTo>
                      <a:pt x="0" y="59727"/>
                      <a:pt x="59727" y="0"/>
                      <a:pt x="133404" y="0"/>
                    </a:cubicBezTo>
                    <a:cubicBezTo>
                      <a:pt x="207081" y="0"/>
                      <a:pt x="266809" y="59727"/>
                      <a:pt x="266809" y="133405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1" name="Graphic 3">
                <a:extLst>
                  <a:ext uri="{FF2B5EF4-FFF2-40B4-BE49-F238E27FC236}">
                    <a16:creationId xmlns:a16="http://schemas.microsoft.com/office/drawing/2014/main" id="{410C46F0-619B-4BDB-8997-E1DBA61E5D44}"/>
                  </a:ext>
                </a:extLst>
              </p:cNvPr>
              <p:cNvSpPr/>
              <p:nvPr/>
            </p:nvSpPr>
            <p:spPr>
              <a:xfrm flipH="1">
                <a:off x="7141264" y="5762302"/>
                <a:ext cx="1253360" cy="361194"/>
              </a:xfrm>
              <a:custGeom>
                <a:avLst/>
                <a:gdLst>
                  <a:gd name="connsiteX0" fmla="*/ 587118 w 1173982"/>
                  <a:gd name="connsiteY0" fmla="*/ 338320 h 338319"/>
                  <a:gd name="connsiteX1" fmla="*/ 92189 w 1173982"/>
                  <a:gd name="connsiteY1" fmla="*/ 260279 h 338319"/>
                  <a:gd name="connsiteX2" fmla="*/ 6810 w 1173982"/>
                  <a:gd name="connsiteY2" fmla="*/ 92188 h 338319"/>
                  <a:gd name="connsiteX3" fmla="*/ 174899 w 1173982"/>
                  <a:gd name="connsiteY3" fmla="*/ 6810 h 338319"/>
                  <a:gd name="connsiteX4" fmla="*/ 587118 w 1173982"/>
                  <a:gd name="connsiteY4" fmla="*/ 71511 h 338319"/>
                  <a:gd name="connsiteX5" fmla="*/ 999338 w 1173982"/>
                  <a:gd name="connsiteY5" fmla="*/ 6810 h 338319"/>
                  <a:gd name="connsiteX6" fmla="*/ 1167427 w 1173982"/>
                  <a:gd name="connsiteY6" fmla="*/ 92188 h 338319"/>
                  <a:gd name="connsiteX7" fmla="*/ 1082048 w 1173982"/>
                  <a:gd name="connsiteY7" fmla="*/ 260279 h 338319"/>
                  <a:gd name="connsiteX8" fmla="*/ 587118 w 1173982"/>
                  <a:gd name="connsiteY8" fmla="*/ 338320 h 338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3982" h="338319">
                    <a:moveTo>
                      <a:pt x="587118" y="338320"/>
                    </a:moveTo>
                    <a:cubicBezTo>
                      <a:pt x="418362" y="338320"/>
                      <a:pt x="251607" y="312306"/>
                      <a:pt x="92189" y="260279"/>
                    </a:cubicBezTo>
                    <a:cubicBezTo>
                      <a:pt x="22152" y="237600"/>
                      <a:pt x="-16536" y="162226"/>
                      <a:pt x="6810" y="92188"/>
                    </a:cubicBezTo>
                    <a:cubicBezTo>
                      <a:pt x="29489" y="22151"/>
                      <a:pt x="104862" y="-16536"/>
                      <a:pt x="174899" y="6810"/>
                    </a:cubicBezTo>
                    <a:cubicBezTo>
                      <a:pt x="307637" y="50166"/>
                      <a:pt x="446377" y="71511"/>
                      <a:pt x="587118" y="71511"/>
                    </a:cubicBezTo>
                    <a:cubicBezTo>
                      <a:pt x="727860" y="71511"/>
                      <a:pt x="866600" y="49499"/>
                      <a:pt x="999338" y="6810"/>
                    </a:cubicBezTo>
                    <a:cubicBezTo>
                      <a:pt x="1069375" y="-15869"/>
                      <a:pt x="1144748" y="22151"/>
                      <a:pt x="1167427" y="92188"/>
                    </a:cubicBezTo>
                    <a:cubicBezTo>
                      <a:pt x="1190106" y="162226"/>
                      <a:pt x="1152085" y="237600"/>
                      <a:pt x="1082048" y="260279"/>
                    </a:cubicBezTo>
                    <a:cubicBezTo>
                      <a:pt x="922630" y="312306"/>
                      <a:pt x="755875" y="338320"/>
                      <a:pt x="587118" y="338320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2" name="Graphic 3">
                <a:extLst>
                  <a:ext uri="{FF2B5EF4-FFF2-40B4-BE49-F238E27FC236}">
                    <a16:creationId xmlns:a16="http://schemas.microsoft.com/office/drawing/2014/main" id="{59A101A6-119A-4CCE-A375-66841D42DE20}"/>
                  </a:ext>
                </a:extLst>
              </p:cNvPr>
              <p:cNvSpPr/>
              <p:nvPr/>
            </p:nvSpPr>
            <p:spPr>
              <a:xfrm flipH="1">
                <a:off x="6059431" y="4272688"/>
                <a:ext cx="583387" cy="1204911"/>
              </a:xfrm>
              <a:custGeom>
                <a:avLst/>
                <a:gdLst>
                  <a:gd name="connsiteX0" fmla="*/ 133555 w 546440"/>
                  <a:gd name="connsiteY0" fmla="*/ 1128603 h 1128602"/>
                  <a:gd name="connsiteX1" fmla="*/ 54846 w 546440"/>
                  <a:gd name="connsiteY1" fmla="*/ 1103256 h 1128602"/>
                  <a:gd name="connsiteX2" fmla="*/ 25497 w 546440"/>
                  <a:gd name="connsiteY2" fmla="*/ 917157 h 1128602"/>
                  <a:gd name="connsiteX3" fmla="*/ 214931 w 546440"/>
                  <a:gd name="connsiteY3" fmla="*/ 545625 h 1128602"/>
                  <a:gd name="connsiteX4" fmla="*/ 279632 w 546440"/>
                  <a:gd name="connsiteY4" fmla="*/ 133405 h 1128602"/>
                  <a:gd name="connsiteX5" fmla="*/ 413037 w 546440"/>
                  <a:gd name="connsiteY5" fmla="*/ 0 h 1128602"/>
                  <a:gd name="connsiteX6" fmla="*/ 546441 w 546440"/>
                  <a:gd name="connsiteY6" fmla="*/ 133405 h 1128602"/>
                  <a:gd name="connsiteX7" fmla="*/ 468399 w 546440"/>
                  <a:gd name="connsiteY7" fmla="*/ 628336 h 1128602"/>
                  <a:gd name="connsiteX8" fmla="*/ 240945 w 546440"/>
                  <a:gd name="connsiteY8" fmla="*/ 1074574 h 1128602"/>
                  <a:gd name="connsiteX9" fmla="*/ 133555 w 546440"/>
                  <a:gd name="connsiteY9" fmla="*/ 1128603 h 1128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6440" h="1128602">
                    <a:moveTo>
                      <a:pt x="133555" y="1128603"/>
                    </a:moveTo>
                    <a:cubicBezTo>
                      <a:pt x="106207" y="1128603"/>
                      <a:pt x="78859" y="1120599"/>
                      <a:pt x="54846" y="1103256"/>
                    </a:cubicBezTo>
                    <a:cubicBezTo>
                      <a:pt x="-4518" y="1059900"/>
                      <a:pt x="-17859" y="976522"/>
                      <a:pt x="25497" y="917157"/>
                    </a:cubicBezTo>
                    <a:cubicBezTo>
                      <a:pt x="108208" y="803763"/>
                      <a:pt x="172242" y="678362"/>
                      <a:pt x="214931" y="545625"/>
                    </a:cubicBezTo>
                    <a:cubicBezTo>
                      <a:pt x="258288" y="412887"/>
                      <a:pt x="279632" y="274147"/>
                      <a:pt x="279632" y="133405"/>
                    </a:cubicBezTo>
                    <a:cubicBezTo>
                      <a:pt x="279632" y="60032"/>
                      <a:pt x="339664" y="0"/>
                      <a:pt x="413037" y="0"/>
                    </a:cubicBezTo>
                    <a:cubicBezTo>
                      <a:pt x="486409" y="0"/>
                      <a:pt x="546441" y="60032"/>
                      <a:pt x="546441" y="133405"/>
                    </a:cubicBezTo>
                    <a:cubicBezTo>
                      <a:pt x="546441" y="302162"/>
                      <a:pt x="520427" y="468918"/>
                      <a:pt x="468399" y="628336"/>
                    </a:cubicBezTo>
                    <a:cubicBezTo>
                      <a:pt x="416372" y="788421"/>
                      <a:pt x="339664" y="938501"/>
                      <a:pt x="240945" y="1074574"/>
                    </a:cubicBezTo>
                    <a:cubicBezTo>
                      <a:pt x="215599" y="1109926"/>
                      <a:pt x="174910" y="1128603"/>
                      <a:pt x="133555" y="1128603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3" name="Graphic 3">
                <a:extLst>
                  <a:ext uri="{FF2B5EF4-FFF2-40B4-BE49-F238E27FC236}">
                    <a16:creationId xmlns:a16="http://schemas.microsoft.com/office/drawing/2014/main" id="{75AFBF88-E8AD-4EE0-AEA6-0118283C4AB2}"/>
                  </a:ext>
                </a:extLst>
              </p:cNvPr>
              <p:cNvSpPr/>
              <p:nvPr/>
            </p:nvSpPr>
            <p:spPr>
              <a:xfrm flipH="1">
                <a:off x="6357648" y="2706018"/>
                <a:ext cx="1552585" cy="930033"/>
              </a:xfrm>
              <a:custGeom>
                <a:avLst/>
                <a:gdLst>
                  <a:gd name="connsiteX0" fmla="*/ 1320702 w 1454257"/>
                  <a:gd name="connsiteY0" fmla="*/ 871132 h 871132"/>
                  <a:gd name="connsiteX1" fmla="*/ 1212645 w 1454257"/>
                  <a:gd name="connsiteY1" fmla="*/ 816436 h 871132"/>
                  <a:gd name="connsiteX2" fmla="*/ 917154 w 1454257"/>
                  <a:gd name="connsiteY2" fmla="*/ 520945 h 871132"/>
                  <a:gd name="connsiteX3" fmla="*/ 545624 w 1454257"/>
                  <a:gd name="connsiteY3" fmla="*/ 331511 h 871132"/>
                  <a:gd name="connsiteX4" fmla="*/ 133404 w 1454257"/>
                  <a:gd name="connsiteY4" fmla="*/ 266809 h 871132"/>
                  <a:gd name="connsiteX5" fmla="*/ 0 w 1454257"/>
                  <a:gd name="connsiteY5" fmla="*/ 133405 h 871132"/>
                  <a:gd name="connsiteX6" fmla="*/ 133404 w 1454257"/>
                  <a:gd name="connsiteY6" fmla="*/ 0 h 871132"/>
                  <a:gd name="connsiteX7" fmla="*/ 628334 w 1454257"/>
                  <a:gd name="connsiteY7" fmla="*/ 78042 h 871132"/>
                  <a:gd name="connsiteX8" fmla="*/ 1074572 w 1454257"/>
                  <a:gd name="connsiteY8" fmla="*/ 305497 h 871132"/>
                  <a:gd name="connsiteX9" fmla="*/ 1428760 w 1454257"/>
                  <a:gd name="connsiteY9" fmla="*/ 659686 h 871132"/>
                  <a:gd name="connsiteX10" fmla="*/ 1399411 w 1454257"/>
                  <a:gd name="connsiteY10" fmla="*/ 845786 h 871132"/>
                  <a:gd name="connsiteX11" fmla="*/ 1320702 w 1454257"/>
                  <a:gd name="connsiteY11" fmla="*/ 871132 h 871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54257" h="871132">
                    <a:moveTo>
                      <a:pt x="1320702" y="871132"/>
                    </a:moveTo>
                    <a:cubicBezTo>
                      <a:pt x="1279347" y="871132"/>
                      <a:pt x="1238659" y="851788"/>
                      <a:pt x="1212645" y="816436"/>
                    </a:cubicBezTo>
                    <a:cubicBezTo>
                      <a:pt x="1129934" y="703042"/>
                      <a:pt x="1030548" y="603656"/>
                      <a:pt x="917154" y="520945"/>
                    </a:cubicBezTo>
                    <a:cubicBezTo>
                      <a:pt x="803761" y="438234"/>
                      <a:pt x="678361" y="374200"/>
                      <a:pt x="545624" y="331511"/>
                    </a:cubicBezTo>
                    <a:cubicBezTo>
                      <a:pt x="412886" y="288154"/>
                      <a:pt x="274146" y="266809"/>
                      <a:pt x="133404" y="266809"/>
                    </a:cubicBezTo>
                    <a:cubicBezTo>
                      <a:pt x="60032" y="266809"/>
                      <a:pt x="0" y="206777"/>
                      <a:pt x="0" y="133405"/>
                    </a:cubicBezTo>
                    <a:cubicBezTo>
                      <a:pt x="0" y="60032"/>
                      <a:pt x="60032" y="0"/>
                      <a:pt x="133404" y="0"/>
                    </a:cubicBezTo>
                    <a:cubicBezTo>
                      <a:pt x="302161" y="0"/>
                      <a:pt x="468916" y="26014"/>
                      <a:pt x="628334" y="78042"/>
                    </a:cubicBezTo>
                    <a:cubicBezTo>
                      <a:pt x="788419" y="130069"/>
                      <a:pt x="938499" y="206777"/>
                      <a:pt x="1074572" y="305497"/>
                    </a:cubicBezTo>
                    <a:cubicBezTo>
                      <a:pt x="1210644" y="404216"/>
                      <a:pt x="1329374" y="523613"/>
                      <a:pt x="1428760" y="659686"/>
                    </a:cubicBezTo>
                    <a:cubicBezTo>
                      <a:pt x="1472116" y="719051"/>
                      <a:pt x="1458776" y="802429"/>
                      <a:pt x="1399411" y="845786"/>
                    </a:cubicBezTo>
                    <a:cubicBezTo>
                      <a:pt x="1375398" y="862461"/>
                      <a:pt x="1348050" y="871132"/>
                      <a:pt x="1320702" y="871132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4" name="Graphic 3">
                <a:extLst>
                  <a:ext uri="{FF2B5EF4-FFF2-40B4-BE49-F238E27FC236}">
                    <a16:creationId xmlns:a16="http://schemas.microsoft.com/office/drawing/2014/main" id="{CAFB9A3A-1D08-45F8-8947-E7D54A249506}"/>
                  </a:ext>
                </a:extLst>
              </p:cNvPr>
              <p:cNvSpPr/>
              <p:nvPr/>
            </p:nvSpPr>
            <p:spPr>
              <a:xfrm flipH="1">
                <a:off x="6713870" y="5541693"/>
                <a:ext cx="284848" cy="284849"/>
              </a:xfrm>
              <a:custGeom>
                <a:avLst/>
                <a:gdLst>
                  <a:gd name="connsiteX0" fmla="*/ 266808 w 266808"/>
                  <a:gd name="connsiteY0" fmla="*/ 133405 h 266809"/>
                  <a:gd name="connsiteX1" fmla="*/ 133404 w 266808"/>
                  <a:gd name="connsiteY1" fmla="*/ 266810 h 266809"/>
                  <a:gd name="connsiteX2" fmla="*/ 0 w 266808"/>
                  <a:gd name="connsiteY2" fmla="*/ 133405 h 266809"/>
                  <a:gd name="connsiteX3" fmla="*/ 133404 w 266808"/>
                  <a:gd name="connsiteY3" fmla="*/ 0 h 266809"/>
                  <a:gd name="connsiteX4" fmla="*/ 266808 w 266808"/>
                  <a:gd name="connsiteY4" fmla="*/ 133405 h 26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808" h="266809">
                    <a:moveTo>
                      <a:pt x="266808" y="133405"/>
                    </a:moveTo>
                    <a:cubicBezTo>
                      <a:pt x="266808" y="207082"/>
                      <a:pt x="207081" y="266810"/>
                      <a:pt x="133404" y="266810"/>
                    </a:cubicBezTo>
                    <a:cubicBezTo>
                      <a:pt x="59727" y="266810"/>
                      <a:pt x="0" y="207082"/>
                      <a:pt x="0" y="133405"/>
                    </a:cubicBezTo>
                    <a:cubicBezTo>
                      <a:pt x="0" y="59727"/>
                      <a:pt x="59727" y="0"/>
                      <a:pt x="133404" y="0"/>
                    </a:cubicBezTo>
                    <a:cubicBezTo>
                      <a:pt x="207081" y="0"/>
                      <a:pt x="266808" y="59727"/>
                      <a:pt x="266808" y="133405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5" name="Graphic 3">
                <a:extLst>
                  <a:ext uri="{FF2B5EF4-FFF2-40B4-BE49-F238E27FC236}">
                    <a16:creationId xmlns:a16="http://schemas.microsoft.com/office/drawing/2014/main" id="{F3902E78-3595-4D9F-9AC4-2FBBFE65A348}"/>
                  </a:ext>
                </a:extLst>
              </p:cNvPr>
              <p:cNvSpPr/>
              <p:nvPr/>
            </p:nvSpPr>
            <p:spPr>
              <a:xfrm>
                <a:off x="9836732" y="5779372"/>
                <a:ext cx="1253360" cy="361194"/>
              </a:xfrm>
              <a:custGeom>
                <a:avLst/>
                <a:gdLst>
                  <a:gd name="connsiteX0" fmla="*/ 587118 w 1173982"/>
                  <a:gd name="connsiteY0" fmla="*/ 338320 h 338319"/>
                  <a:gd name="connsiteX1" fmla="*/ 92189 w 1173982"/>
                  <a:gd name="connsiteY1" fmla="*/ 260279 h 338319"/>
                  <a:gd name="connsiteX2" fmla="*/ 6810 w 1173982"/>
                  <a:gd name="connsiteY2" fmla="*/ 92188 h 338319"/>
                  <a:gd name="connsiteX3" fmla="*/ 174899 w 1173982"/>
                  <a:gd name="connsiteY3" fmla="*/ 6810 h 338319"/>
                  <a:gd name="connsiteX4" fmla="*/ 587118 w 1173982"/>
                  <a:gd name="connsiteY4" fmla="*/ 71511 h 338319"/>
                  <a:gd name="connsiteX5" fmla="*/ 999338 w 1173982"/>
                  <a:gd name="connsiteY5" fmla="*/ 6810 h 338319"/>
                  <a:gd name="connsiteX6" fmla="*/ 1167427 w 1173982"/>
                  <a:gd name="connsiteY6" fmla="*/ 92188 h 338319"/>
                  <a:gd name="connsiteX7" fmla="*/ 1082048 w 1173982"/>
                  <a:gd name="connsiteY7" fmla="*/ 260279 h 338319"/>
                  <a:gd name="connsiteX8" fmla="*/ 587118 w 1173982"/>
                  <a:gd name="connsiteY8" fmla="*/ 338320 h 338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73982" h="338319">
                    <a:moveTo>
                      <a:pt x="587118" y="338320"/>
                    </a:moveTo>
                    <a:cubicBezTo>
                      <a:pt x="418362" y="338320"/>
                      <a:pt x="251607" y="312306"/>
                      <a:pt x="92189" y="260279"/>
                    </a:cubicBezTo>
                    <a:cubicBezTo>
                      <a:pt x="22152" y="237600"/>
                      <a:pt x="-16536" y="162226"/>
                      <a:pt x="6810" y="92188"/>
                    </a:cubicBezTo>
                    <a:cubicBezTo>
                      <a:pt x="29489" y="22151"/>
                      <a:pt x="104862" y="-16536"/>
                      <a:pt x="174899" y="6810"/>
                    </a:cubicBezTo>
                    <a:cubicBezTo>
                      <a:pt x="307637" y="50166"/>
                      <a:pt x="446377" y="71511"/>
                      <a:pt x="587118" y="71511"/>
                    </a:cubicBezTo>
                    <a:cubicBezTo>
                      <a:pt x="727860" y="71511"/>
                      <a:pt x="866600" y="49499"/>
                      <a:pt x="999338" y="6810"/>
                    </a:cubicBezTo>
                    <a:cubicBezTo>
                      <a:pt x="1069375" y="-15869"/>
                      <a:pt x="1144748" y="22151"/>
                      <a:pt x="1167427" y="92188"/>
                    </a:cubicBezTo>
                    <a:cubicBezTo>
                      <a:pt x="1190106" y="162226"/>
                      <a:pt x="1152085" y="237600"/>
                      <a:pt x="1082048" y="260279"/>
                    </a:cubicBezTo>
                    <a:cubicBezTo>
                      <a:pt x="922630" y="312306"/>
                      <a:pt x="755875" y="338320"/>
                      <a:pt x="587118" y="338320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6" name="Graphic 3">
                <a:extLst>
                  <a:ext uri="{FF2B5EF4-FFF2-40B4-BE49-F238E27FC236}">
                    <a16:creationId xmlns:a16="http://schemas.microsoft.com/office/drawing/2014/main" id="{54DE1486-1BE0-4F78-A60C-23C34DE70671}"/>
                  </a:ext>
                </a:extLst>
              </p:cNvPr>
              <p:cNvSpPr/>
              <p:nvPr/>
            </p:nvSpPr>
            <p:spPr>
              <a:xfrm>
                <a:off x="11588538" y="4289758"/>
                <a:ext cx="583387" cy="1204911"/>
              </a:xfrm>
              <a:custGeom>
                <a:avLst/>
                <a:gdLst>
                  <a:gd name="connsiteX0" fmla="*/ 133555 w 546440"/>
                  <a:gd name="connsiteY0" fmla="*/ 1128603 h 1128602"/>
                  <a:gd name="connsiteX1" fmla="*/ 54846 w 546440"/>
                  <a:gd name="connsiteY1" fmla="*/ 1103256 h 1128602"/>
                  <a:gd name="connsiteX2" fmla="*/ 25497 w 546440"/>
                  <a:gd name="connsiteY2" fmla="*/ 917157 h 1128602"/>
                  <a:gd name="connsiteX3" fmla="*/ 214931 w 546440"/>
                  <a:gd name="connsiteY3" fmla="*/ 545625 h 1128602"/>
                  <a:gd name="connsiteX4" fmla="*/ 279632 w 546440"/>
                  <a:gd name="connsiteY4" fmla="*/ 133405 h 1128602"/>
                  <a:gd name="connsiteX5" fmla="*/ 413037 w 546440"/>
                  <a:gd name="connsiteY5" fmla="*/ 0 h 1128602"/>
                  <a:gd name="connsiteX6" fmla="*/ 546441 w 546440"/>
                  <a:gd name="connsiteY6" fmla="*/ 133405 h 1128602"/>
                  <a:gd name="connsiteX7" fmla="*/ 468399 w 546440"/>
                  <a:gd name="connsiteY7" fmla="*/ 628336 h 1128602"/>
                  <a:gd name="connsiteX8" fmla="*/ 240945 w 546440"/>
                  <a:gd name="connsiteY8" fmla="*/ 1074574 h 1128602"/>
                  <a:gd name="connsiteX9" fmla="*/ 133555 w 546440"/>
                  <a:gd name="connsiteY9" fmla="*/ 1128603 h 1128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6440" h="1128602">
                    <a:moveTo>
                      <a:pt x="133555" y="1128603"/>
                    </a:moveTo>
                    <a:cubicBezTo>
                      <a:pt x="106207" y="1128603"/>
                      <a:pt x="78859" y="1120599"/>
                      <a:pt x="54846" y="1103256"/>
                    </a:cubicBezTo>
                    <a:cubicBezTo>
                      <a:pt x="-4518" y="1059900"/>
                      <a:pt x="-17859" y="976522"/>
                      <a:pt x="25497" y="917157"/>
                    </a:cubicBezTo>
                    <a:cubicBezTo>
                      <a:pt x="108208" y="803763"/>
                      <a:pt x="172242" y="678362"/>
                      <a:pt x="214931" y="545625"/>
                    </a:cubicBezTo>
                    <a:cubicBezTo>
                      <a:pt x="258288" y="412887"/>
                      <a:pt x="279632" y="274147"/>
                      <a:pt x="279632" y="133405"/>
                    </a:cubicBezTo>
                    <a:cubicBezTo>
                      <a:pt x="279632" y="60032"/>
                      <a:pt x="339664" y="0"/>
                      <a:pt x="413037" y="0"/>
                    </a:cubicBezTo>
                    <a:cubicBezTo>
                      <a:pt x="486409" y="0"/>
                      <a:pt x="546441" y="60032"/>
                      <a:pt x="546441" y="133405"/>
                    </a:cubicBezTo>
                    <a:cubicBezTo>
                      <a:pt x="546441" y="302162"/>
                      <a:pt x="520427" y="468918"/>
                      <a:pt x="468399" y="628336"/>
                    </a:cubicBezTo>
                    <a:cubicBezTo>
                      <a:pt x="416372" y="788421"/>
                      <a:pt x="339664" y="938501"/>
                      <a:pt x="240945" y="1074574"/>
                    </a:cubicBezTo>
                    <a:cubicBezTo>
                      <a:pt x="215599" y="1109926"/>
                      <a:pt x="174910" y="1128603"/>
                      <a:pt x="133555" y="1128603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7" name="Graphic 3">
                <a:extLst>
                  <a:ext uri="{FF2B5EF4-FFF2-40B4-BE49-F238E27FC236}">
                    <a16:creationId xmlns:a16="http://schemas.microsoft.com/office/drawing/2014/main" id="{2AE8695A-2A79-4168-8E66-88B78316E9FE}"/>
                  </a:ext>
                </a:extLst>
              </p:cNvPr>
              <p:cNvSpPr/>
              <p:nvPr/>
            </p:nvSpPr>
            <p:spPr>
              <a:xfrm>
                <a:off x="10321123" y="2723088"/>
                <a:ext cx="1552585" cy="930033"/>
              </a:xfrm>
              <a:custGeom>
                <a:avLst/>
                <a:gdLst>
                  <a:gd name="connsiteX0" fmla="*/ 1320702 w 1454257"/>
                  <a:gd name="connsiteY0" fmla="*/ 871132 h 871132"/>
                  <a:gd name="connsiteX1" fmla="*/ 1212645 w 1454257"/>
                  <a:gd name="connsiteY1" fmla="*/ 816436 h 871132"/>
                  <a:gd name="connsiteX2" fmla="*/ 917154 w 1454257"/>
                  <a:gd name="connsiteY2" fmla="*/ 520945 h 871132"/>
                  <a:gd name="connsiteX3" fmla="*/ 545624 w 1454257"/>
                  <a:gd name="connsiteY3" fmla="*/ 331511 h 871132"/>
                  <a:gd name="connsiteX4" fmla="*/ 133404 w 1454257"/>
                  <a:gd name="connsiteY4" fmla="*/ 266809 h 871132"/>
                  <a:gd name="connsiteX5" fmla="*/ 0 w 1454257"/>
                  <a:gd name="connsiteY5" fmla="*/ 133405 h 871132"/>
                  <a:gd name="connsiteX6" fmla="*/ 133404 w 1454257"/>
                  <a:gd name="connsiteY6" fmla="*/ 0 h 871132"/>
                  <a:gd name="connsiteX7" fmla="*/ 628334 w 1454257"/>
                  <a:gd name="connsiteY7" fmla="*/ 78042 h 871132"/>
                  <a:gd name="connsiteX8" fmla="*/ 1074572 w 1454257"/>
                  <a:gd name="connsiteY8" fmla="*/ 305497 h 871132"/>
                  <a:gd name="connsiteX9" fmla="*/ 1428760 w 1454257"/>
                  <a:gd name="connsiteY9" fmla="*/ 659686 h 871132"/>
                  <a:gd name="connsiteX10" fmla="*/ 1399411 w 1454257"/>
                  <a:gd name="connsiteY10" fmla="*/ 845786 h 871132"/>
                  <a:gd name="connsiteX11" fmla="*/ 1320702 w 1454257"/>
                  <a:gd name="connsiteY11" fmla="*/ 871132 h 871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54257" h="871132">
                    <a:moveTo>
                      <a:pt x="1320702" y="871132"/>
                    </a:moveTo>
                    <a:cubicBezTo>
                      <a:pt x="1279347" y="871132"/>
                      <a:pt x="1238659" y="851788"/>
                      <a:pt x="1212645" y="816436"/>
                    </a:cubicBezTo>
                    <a:cubicBezTo>
                      <a:pt x="1129934" y="703042"/>
                      <a:pt x="1030548" y="603656"/>
                      <a:pt x="917154" y="520945"/>
                    </a:cubicBezTo>
                    <a:cubicBezTo>
                      <a:pt x="803761" y="438234"/>
                      <a:pt x="678361" y="374200"/>
                      <a:pt x="545624" y="331511"/>
                    </a:cubicBezTo>
                    <a:cubicBezTo>
                      <a:pt x="412886" y="288154"/>
                      <a:pt x="274146" y="266809"/>
                      <a:pt x="133404" y="266809"/>
                    </a:cubicBezTo>
                    <a:cubicBezTo>
                      <a:pt x="60032" y="266809"/>
                      <a:pt x="0" y="206777"/>
                      <a:pt x="0" y="133405"/>
                    </a:cubicBezTo>
                    <a:cubicBezTo>
                      <a:pt x="0" y="60032"/>
                      <a:pt x="60032" y="0"/>
                      <a:pt x="133404" y="0"/>
                    </a:cubicBezTo>
                    <a:cubicBezTo>
                      <a:pt x="302161" y="0"/>
                      <a:pt x="468916" y="26014"/>
                      <a:pt x="628334" y="78042"/>
                    </a:cubicBezTo>
                    <a:cubicBezTo>
                      <a:pt x="788419" y="130069"/>
                      <a:pt x="938499" y="206777"/>
                      <a:pt x="1074572" y="305497"/>
                    </a:cubicBezTo>
                    <a:cubicBezTo>
                      <a:pt x="1210644" y="404216"/>
                      <a:pt x="1329374" y="523613"/>
                      <a:pt x="1428760" y="659686"/>
                    </a:cubicBezTo>
                    <a:cubicBezTo>
                      <a:pt x="1472116" y="719051"/>
                      <a:pt x="1458776" y="802429"/>
                      <a:pt x="1399411" y="845786"/>
                    </a:cubicBezTo>
                    <a:cubicBezTo>
                      <a:pt x="1375398" y="862461"/>
                      <a:pt x="1348050" y="871132"/>
                      <a:pt x="1320702" y="871132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8" name="Graphic 3">
                <a:extLst>
                  <a:ext uri="{FF2B5EF4-FFF2-40B4-BE49-F238E27FC236}">
                    <a16:creationId xmlns:a16="http://schemas.microsoft.com/office/drawing/2014/main" id="{38E55B03-BB1F-4E1C-A15D-429B346371F0}"/>
                  </a:ext>
                </a:extLst>
              </p:cNvPr>
              <p:cNvSpPr/>
              <p:nvPr/>
            </p:nvSpPr>
            <p:spPr>
              <a:xfrm>
                <a:off x="11810169" y="3806939"/>
                <a:ext cx="284848" cy="284849"/>
              </a:xfrm>
              <a:custGeom>
                <a:avLst/>
                <a:gdLst>
                  <a:gd name="connsiteX0" fmla="*/ 266809 w 266808"/>
                  <a:gd name="connsiteY0" fmla="*/ 133405 h 266809"/>
                  <a:gd name="connsiteX1" fmla="*/ 133404 w 266808"/>
                  <a:gd name="connsiteY1" fmla="*/ 266809 h 266809"/>
                  <a:gd name="connsiteX2" fmla="*/ 0 w 266808"/>
                  <a:gd name="connsiteY2" fmla="*/ 133405 h 266809"/>
                  <a:gd name="connsiteX3" fmla="*/ 133404 w 266808"/>
                  <a:gd name="connsiteY3" fmla="*/ 0 h 266809"/>
                  <a:gd name="connsiteX4" fmla="*/ 266809 w 266808"/>
                  <a:gd name="connsiteY4" fmla="*/ 133405 h 26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808" h="266809">
                    <a:moveTo>
                      <a:pt x="266809" y="133405"/>
                    </a:moveTo>
                    <a:cubicBezTo>
                      <a:pt x="266809" y="207082"/>
                      <a:pt x="207082" y="266809"/>
                      <a:pt x="133404" y="266809"/>
                    </a:cubicBezTo>
                    <a:cubicBezTo>
                      <a:pt x="59727" y="266809"/>
                      <a:pt x="0" y="207082"/>
                      <a:pt x="0" y="133405"/>
                    </a:cubicBezTo>
                    <a:cubicBezTo>
                      <a:pt x="0" y="59727"/>
                      <a:pt x="59727" y="0"/>
                      <a:pt x="133404" y="0"/>
                    </a:cubicBezTo>
                    <a:cubicBezTo>
                      <a:pt x="207082" y="0"/>
                      <a:pt x="266809" y="59727"/>
                      <a:pt x="266809" y="133405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9" name="Graphic 3">
                <a:extLst>
                  <a:ext uri="{FF2B5EF4-FFF2-40B4-BE49-F238E27FC236}">
                    <a16:creationId xmlns:a16="http://schemas.microsoft.com/office/drawing/2014/main" id="{F390558F-BB4A-4CD6-A0AA-374A1E249585}"/>
                  </a:ext>
                </a:extLst>
              </p:cNvPr>
              <p:cNvSpPr/>
              <p:nvPr/>
            </p:nvSpPr>
            <p:spPr>
              <a:xfrm>
                <a:off x="11232638" y="5558763"/>
                <a:ext cx="284848" cy="284849"/>
              </a:xfrm>
              <a:custGeom>
                <a:avLst/>
                <a:gdLst>
                  <a:gd name="connsiteX0" fmla="*/ 266808 w 266808"/>
                  <a:gd name="connsiteY0" fmla="*/ 133405 h 266809"/>
                  <a:gd name="connsiteX1" fmla="*/ 133404 w 266808"/>
                  <a:gd name="connsiteY1" fmla="*/ 266810 h 266809"/>
                  <a:gd name="connsiteX2" fmla="*/ 0 w 266808"/>
                  <a:gd name="connsiteY2" fmla="*/ 133405 h 266809"/>
                  <a:gd name="connsiteX3" fmla="*/ 133404 w 266808"/>
                  <a:gd name="connsiteY3" fmla="*/ 0 h 266809"/>
                  <a:gd name="connsiteX4" fmla="*/ 266808 w 266808"/>
                  <a:gd name="connsiteY4" fmla="*/ 133405 h 26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808" h="266809">
                    <a:moveTo>
                      <a:pt x="266808" y="133405"/>
                    </a:moveTo>
                    <a:cubicBezTo>
                      <a:pt x="266808" y="207082"/>
                      <a:pt x="207081" y="266810"/>
                      <a:pt x="133404" y="266810"/>
                    </a:cubicBezTo>
                    <a:cubicBezTo>
                      <a:pt x="59727" y="266810"/>
                      <a:pt x="0" y="207082"/>
                      <a:pt x="0" y="133405"/>
                    </a:cubicBezTo>
                    <a:cubicBezTo>
                      <a:pt x="0" y="59727"/>
                      <a:pt x="59727" y="0"/>
                      <a:pt x="133404" y="0"/>
                    </a:cubicBezTo>
                    <a:cubicBezTo>
                      <a:pt x="207081" y="0"/>
                      <a:pt x="266808" y="59727"/>
                      <a:pt x="266808" y="133405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0" name="Graphic 3">
                <a:extLst>
                  <a:ext uri="{FF2B5EF4-FFF2-40B4-BE49-F238E27FC236}">
                    <a16:creationId xmlns:a16="http://schemas.microsoft.com/office/drawing/2014/main" id="{C6FC9D89-BC40-456D-9728-C2876A192AC9}"/>
                  </a:ext>
                </a:extLst>
              </p:cNvPr>
              <p:cNvSpPr/>
              <p:nvPr/>
            </p:nvSpPr>
            <p:spPr>
              <a:xfrm>
                <a:off x="9397132" y="5550444"/>
                <a:ext cx="284848" cy="284849"/>
              </a:xfrm>
              <a:custGeom>
                <a:avLst/>
                <a:gdLst>
                  <a:gd name="connsiteX0" fmla="*/ 266809 w 266808"/>
                  <a:gd name="connsiteY0" fmla="*/ 133405 h 266809"/>
                  <a:gd name="connsiteX1" fmla="*/ 133404 w 266808"/>
                  <a:gd name="connsiteY1" fmla="*/ 266809 h 266809"/>
                  <a:gd name="connsiteX2" fmla="*/ 0 w 266808"/>
                  <a:gd name="connsiteY2" fmla="*/ 133405 h 266809"/>
                  <a:gd name="connsiteX3" fmla="*/ 133404 w 266808"/>
                  <a:gd name="connsiteY3" fmla="*/ 0 h 266809"/>
                  <a:gd name="connsiteX4" fmla="*/ 266809 w 266808"/>
                  <a:gd name="connsiteY4" fmla="*/ 133405 h 26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808" h="266809">
                    <a:moveTo>
                      <a:pt x="266809" y="133405"/>
                    </a:moveTo>
                    <a:cubicBezTo>
                      <a:pt x="266809" y="207082"/>
                      <a:pt x="207082" y="266809"/>
                      <a:pt x="133404" y="266809"/>
                    </a:cubicBezTo>
                    <a:cubicBezTo>
                      <a:pt x="59727" y="266809"/>
                      <a:pt x="0" y="207082"/>
                      <a:pt x="0" y="133405"/>
                    </a:cubicBezTo>
                    <a:cubicBezTo>
                      <a:pt x="0" y="59727"/>
                      <a:pt x="59727" y="0"/>
                      <a:pt x="133404" y="0"/>
                    </a:cubicBezTo>
                    <a:cubicBezTo>
                      <a:pt x="207082" y="0"/>
                      <a:pt x="266809" y="59727"/>
                      <a:pt x="266809" y="133405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1" name="Graphic 3">
                <a:extLst>
                  <a:ext uri="{FF2B5EF4-FFF2-40B4-BE49-F238E27FC236}">
                    <a16:creationId xmlns:a16="http://schemas.microsoft.com/office/drawing/2014/main" id="{910238C4-FFA5-49C5-817E-EFAB7AB70067}"/>
                  </a:ext>
                </a:extLst>
              </p:cNvPr>
              <p:cNvSpPr/>
              <p:nvPr userDrawn="1"/>
            </p:nvSpPr>
            <p:spPr>
              <a:xfrm rot="3024109">
                <a:off x="10337460" y="1878697"/>
                <a:ext cx="631261" cy="631102"/>
              </a:xfrm>
              <a:custGeom>
                <a:avLst/>
                <a:gdLst>
                  <a:gd name="connsiteX0" fmla="*/ 458394 w 591282"/>
                  <a:gd name="connsiteY0" fmla="*/ 591133 h 591133"/>
                  <a:gd name="connsiteX1" fmla="*/ 350337 w 591282"/>
                  <a:gd name="connsiteY1" fmla="*/ 536437 h 591133"/>
                  <a:gd name="connsiteX2" fmla="*/ 54846 w 591282"/>
                  <a:gd name="connsiteY2" fmla="*/ 240946 h 591133"/>
                  <a:gd name="connsiteX3" fmla="*/ 25497 w 591282"/>
                  <a:gd name="connsiteY3" fmla="*/ 54846 h 591133"/>
                  <a:gd name="connsiteX4" fmla="*/ 211596 w 591282"/>
                  <a:gd name="connsiteY4" fmla="*/ 25498 h 591133"/>
                  <a:gd name="connsiteX5" fmla="*/ 565785 w 591282"/>
                  <a:gd name="connsiteY5" fmla="*/ 379687 h 591133"/>
                  <a:gd name="connsiteX6" fmla="*/ 536436 w 591282"/>
                  <a:gd name="connsiteY6" fmla="*/ 565786 h 591133"/>
                  <a:gd name="connsiteX7" fmla="*/ 458394 w 591282"/>
                  <a:gd name="connsiteY7" fmla="*/ 591133 h 591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1282" h="591133">
                    <a:moveTo>
                      <a:pt x="458394" y="591133"/>
                    </a:moveTo>
                    <a:cubicBezTo>
                      <a:pt x="417039" y="591133"/>
                      <a:pt x="376351" y="571789"/>
                      <a:pt x="350337" y="536437"/>
                    </a:cubicBezTo>
                    <a:cubicBezTo>
                      <a:pt x="267626" y="423043"/>
                      <a:pt x="168240" y="323657"/>
                      <a:pt x="54846" y="240946"/>
                    </a:cubicBezTo>
                    <a:cubicBezTo>
                      <a:pt x="-4518" y="197590"/>
                      <a:pt x="-17859" y="114212"/>
                      <a:pt x="25497" y="54846"/>
                    </a:cubicBezTo>
                    <a:cubicBezTo>
                      <a:pt x="68854" y="-4519"/>
                      <a:pt x="152232" y="-17859"/>
                      <a:pt x="211596" y="25498"/>
                    </a:cubicBezTo>
                    <a:cubicBezTo>
                      <a:pt x="347669" y="124217"/>
                      <a:pt x="466398" y="243614"/>
                      <a:pt x="565785" y="379687"/>
                    </a:cubicBezTo>
                    <a:cubicBezTo>
                      <a:pt x="609141" y="439052"/>
                      <a:pt x="595801" y="522430"/>
                      <a:pt x="536436" y="565786"/>
                    </a:cubicBezTo>
                    <a:cubicBezTo>
                      <a:pt x="513090" y="582462"/>
                      <a:pt x="485742" y="591133"/>
                      <a:pt x="458394" y="591133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2" name="Graphic 3">
                <a:extLst>
                  <a:ext uri="{FF2B5EF4-FFF2-40B4-BE49-F238E27FC236}">
                    <a16:creationId xmlns:a16="http://schemas.microsoft.com/office/drawing/2014/main" id="{27CF85AC-60BF-4C58-9DF3-32FD67F03EC4}"/>
                  </a:ext>
                </a:extLst>
              </p:cNvPr>
              <p:cNvSpPr/>
              <p:nvPr userDrawn="1"/>
            </p:nvSpPr>
            <p:spPr>
              <a:xfrm>
                <a:off x="8958755" y="3377714"/>
                <a:ext cx="284848" cy="284849"/>
              </a:xfrm>
              <a:custGeom>
                <a:avLst/>
                <a:gdLst>
                  <a:gd name="connsiteX0" fmla="*/ 266809 w 266808"/>
                  <a:gd name="connsiteY0" fmla="*/ 133405 h 266809"/>
                  <a:gd name="connsiteX1" fmla="*/ 133404 w 266808"/>
                  <a:gd name="connsiteY1" fmla="*/ 266809 h 266809"/>
                  <a:gd name="connsiteX2" fmla="*/ 0 w 266808"/>
                  <a:gd name="connsiteY2" fmla="*/ 133405 h 266809"/>
                  <a:gd name="connsiteX3" fmla="*/ 133404 w 266808"/>
                  <a:gd name="connsiteY3" fmla="*/ 0 h 266809"/>
                  <a:gd name="connsiteX4" fmla="*/ 266809 w 266808"/>
                  <a:gd name="connsiteY4" fmla="*/ 133405 h 26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808" h="266809">
                    <a:moveTo>
                      <a:pt x="266809" y="133405"/>
                    </a:moveTo>
                    <a:cubicBezTo>
                      <a:pt x="266809" y="207082"/>
                      <a:pt x="207082" y="266809"/>
                      <a:pt x="133404" y="266809"/>
                    </a:cubicBezTo>
                    <a:cubicBezTo>
                      <a:pt x="59727" y="266809"/>
                      <a:pt x="0" y="207082"/>
                      <a:pt x="0" y="133405"/>
                    </a:cubicBezTo>
                    <a:cubicBezTo>
                      <a:pt x="0" y="59727"/>
                      <a:pt x="59727" y="0"/>
                      <a:pt x="133404" y="0"/>
                    </a:cubicBezTo>
                    <a:cubicBezTo>
                      <a:pt x="207082" y="0"/>
                      <a:pt x="266809" y="59727"/>
                      <a:pt x="266809" y="133405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3" name="Graphic 3">
                <a:extLst>
                  <a:ext uri="{FF2B5EF4-FFF2-40B4-BE49-F238E27FC236}">
                    <a16:creationId xmlns:a16="http://schemas.microsoft.com/office/drawing/2014/main" id="{EC1114A1-9FC6-4534-90E5-A1F646D3B4E4}"/>
                  </a:ext>
                </a:extLst>
              </p:cNvPr>
              <p:cNvSpPr/>
              <p:nvPr userDrawn="1"/>
            </p:nvSpPr>
            <p:spPr>
              <a:xfrm rot="5724693">
                <a:off x="8560196" y="5212051"/>
                <a:ext cx="631261" cy="631102"/>
              </a:xfrm>
              <a:custGeom>
                <a:avLst/>
                <a:gdLst>
                  <a:gd name="connsiteX0" fmla="*/ 458394 w 591282"/>
                  <a:gd name="connsiteY0" fmla="*/ 591133 h 591133"/>
                  <a:gd name="connsiteX1" fmla="*/ 350337 w 591282"/>
                  <a:gd name="connsiteY1" fmla="*/ 536437 h 591133"/>
                  <a:gd name="connsiteX2" fmla="*/ 54846 w 591282"/>
                  <a:gd name="connsiteY2" fmla="*/ 240946 h 591133"/>
                  <a:gd name="connsiteX3" fmla="*/ 25497 w 591282"/>
                  <a:gd name="connsiteY3" fmla="*/ 54846 h 591133"/>
                  <a:gd name="connsiteX4" fmla="*/ 211596 w 591282"/>
                  <a:gd name="connsiteY4" fmla="*/ 25498 h 591133"/>
                  <a:gd name="connsiteX5" fmla="*/ 565785 w 591282"/>
                  <a:gd name="connsiteY5" fmla="*/ 379687 h 591133"/>
                  <a:gd name="connsiteX6" fmla="*/ 536436 w 591282"/>
                  <a:gd name="connsiteY6" fmla="*/ 565786 h 591133"/>
                  <a:gd name="connsiteX7" fmla="*/ 458394 w 591282"/>
                  <a:gd name="connsiteY7" fmla="*/ 591133 h 591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1282" h="591133">
                    <a:moveTo>
                      <a:pt x="458394" y="591133"/>
                    </a:moveTo>
                    <a:cubicBezTo>
                      <a:pt x="417039" y="591133"/>
                      <a:pt x="376351" y="571789"/>
                      <a:pt x="350337" y="536437"/>
                    </a:cubicBezTo>
                    <a:cubicBezTo>
                      <a:pt x="267626" y="423043"/>
                      <a:pt x="168240" y="323657"/>
                      <a:pt x="54846" y="240946"/>
                    </a:cubicBezTo>
                    <a:cubicBezTo>
                      <a:pt x="-4518" y="197590"/>
                      <a:pt x="-17859" y="114212"/>
                      <a:pt x="25497" y="54846"/>
                    </a:cubicBezTo>
                    <a:cubicBezTo>
                      <a:pt x="68854" y="-4519"/>
                      <a:pt x="152232" y="-17859"/>
                      <a:pt x="211596" y="25498"/>
                    </a:cubicBezTo>
                    <a:cubicBezTo>
                      <a:pt x="347669" y="124217"/>
                      <a:pt x="466398" y="243614"/>
                      <a:pt x="565785" y="379687"/>
                    </a:cubicBezTo>
                    <a:cubicBezTo>
                      <a:pt x="609141" y="439052"/>
                      <a:pt x="595801" y="522430"/>
                      <a:pt x="536436" y="565786"/>
                    </a:cubicBezTo>
                    <a:cubicBezTo>
                      <a:pt x="513090" y="582462"/>
                      <a:pt x="485742" y="591133"/>
                      <a:pt x="458394" y="591133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>
                    <a:lumMod val="95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74" name="Graphic 3">
              <a:extLst>
                <a:ext uri="{FF2B5EF4-FFF2-40B4-BE49-F238E27FC236}">
                  <a16:creationId xmlns:a16="http://schemas.microsoft.com/office/drawing/2014/main" id="{4C9E51F3-2BC7-4528-8560-933354FAC26C}"/>
                </a:ext>
              </a:extLst>
            </p:cNvPr>
            <p:cNvSpPr/>
            <p:nvPr/>
          </p:nvSpPr>
          <p:spPr>
            <a:xfrm>
              <a:off x="7823628" y="589154"/>
              <a:ext cx="2563636" cy="2563643"/>
            </a:xfrm>
            <a:custGeom>
              <a:avLst/>
              <a:gdLst>
                <a:gd name="connsiteX0" fmla="*/ 2401277 w 2401276"/>
                <a:gd name="connsiteY0" fmla="*/ 1200641 h 2401282"/>
                <a:gd name="connsiteX1" fmla="*/ 1200638 w 2401276"/>
                <a:gd name="connsiteY1" fmla="*/ 2401283 h 2401282"/>
                <a:gd name="connsiteX2" fmla="*/ 0 w 2401276"/>
                <a:gd name="connsiteY2" fmla="*/ 1200641 h 2401282"/>
                <a:gd name="connsiteX3" fmla="*/ 1200638 w 2401276"/>
                <a:gd name="connsiteY3" fmla="*/ 0 h 2401282"/>
                <a:gd name="connsiteX4" fmla="*/ 2401277 w 2401276"/>
                <a:gd name="connsiteY4" fmla="*/ 1200641 h 2401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1276" h="2401282">
                  <a:moveTo>
                    <a:pt x="2401277" y="1200641"/>
                  </a:moveTo>
                  <a:cubicBezTo>
                    <a:pt x="2401277" y="1863737"/>
                    <a:pt x="1863732" y="2401283"/>
                    <a:pt x="1200638" y="2401283"/>
                  </a:cubicBezTo>
                  <a:cubicBezTo>
                    <a:pt x="537544" y="2401283"/>
                    <a:pt x="0" y="1863737"/>
                    <a:pt x="0" y="1200641"/>
                  </a:cubicBezTo>
                  <a:cubicBezTo>
                    <a:pt x="0" y="537545"/>
                    <a:pt x="537544" y="0"/>
                    <a:pt x="1200638" y="0"/>
                  </a:cubicBezTo>
                  <a:cubicBezTo>
                    <a:pt x="1863732" y="0"/>
                    <a:pt x="2401277" y="537545"/>
                    <a:pt x="2401277" y="1200641"/>
                  </a:cubicBezTo>
                  <a:close/>
                </a:path>
              </a:pathLst>
            </a:custGeom>
            <a:solidFill>
              <a:schemeClr val="tx2"/>
            </a:solidFill>
            <a:ln w="66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Graphic 3">
              <a:extLst>
                <a:ext uri="{FF2B5EF4-FFF2-40B4-BE49-F238E27FC236}">
                  <a16:creationId xmlns:a16="http://schemas.microsoft.com/office/drawing/2014/main" id="{1EB489A0-CE2A-4205-99AC-A6B973F53D37}"/>
                </a:ext>
              </a:extLst>
            </p:cNvPr>
            <p:cNvSpPr/>
            <p:nvPr userDrawn="1"/>
          </p:nvSpPr>
          <p:spPr>
            <a:xfrm>
              <a:off x="9155320" y="3149655"/>
              <a:ext cx="2563636" cy="2563643"/>
            </a:xfrm>
            <a:custGeom>
              <a:avLst/>
              <a:gdLst>
                <a:gd name="connsiteX0" fmla="*/ 2401277 w 2401276"/>
                <a:gd name="connsiteY0" fmla="*/ 1200641 h 2401282"/>
                <a:gd name="connsiteX1" fmla="*/ 1200638 w 2401276"/>
                <a:gd name="connsiteY1" fmla="*/ 2401283 h 2401282"/>
                <a:gd name="connsiteX2" fmla="*/ 0 w 2401276"/>
                <a:gd name="connsiteY2" fmla="*/ 1200641 h 2401282"/>
                <a:gd name="connsiteX3" fmla="*/ 1200638 w 2401276"/>
                <a:gd name="connsiteY3" fmla="*/ 0 h 2401282"/>
                <a:gd name="connsiteX4" fmla="*/ 2401277 w 2401276"/>
                <a:gd name="connsiteY4" fmla="*/ 1200641 h 2401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1276" h="2401282">
                  <a:moveTo>
                    <a:pt x="2401277" y="1200641"/>
                  </a:moveTo>
                  <a:cubicBezTo>
                    <a:pt x="2401277" y="1863737"/>
                    <a:pt x="1863732" y="2401283"/>
                    <a:pt x="1200638" y="2401283"/>
                  </a:cubicBezTo>
                  <a:cubicBezTo>
                    <a:pt x="537544" y="2401283"/>
                    <a:pt x="0" y="1863737"/>
                    <a:pt x="0" y="1200641"/>
                  </a:cubicBezTo>
                  <a:cubicBezTo>
                    <a:pt x="0" y="537545"/>
                    <a:pt x="537544" y="0"/>
                    <a:pt x="1200638" y="0"/>
                  </a:cubicBezTo>
                  <a:cubicBezTo>
                    <a:pt x="1863732" y="0"/>
                    <a:pt x="2401277" y="537545"/>
                    <a:pt x="2401277" y="1200641"/>
                  </a:cubicBezTo>
                  <a:close/>
                </a:path>
              </a:pathLst>
            </a:custGeom>
            <a:solidFill>
              <a:schemeClr val="accent3"/>
            </a:solidFill>
            <a:ln w="66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Graphic 3">
              <a:extLst>
                <a:ext uri="{FF2B5EF4-FFF2-40B4-BE49-F238E27FC236}">
                  <a16:creationId xmlns:a16="http://schemas.microsoft.com/office/drawing/2014/main" id="{B41323E3-D75E-4D01-BA8E-AA1261A65B78}"/>
                </a:ext>
              </a:extLst>
            </p:cNvPr>
            <p:cNvSpPr/>
            <p:nvPr userDrawn="1"/>
          </p:nvSpPr>
          <p:spPr>
            <a:xfrm>
              <a:off x="6491936" y="3157049"/>
              <a:ext cx="2563636" cy="2563643"/>
            </a:xfrm>
            <a:custGeom>
              <a:avLst/>
              <a:gdLst>
                <a:gd name="connsiteX0" fmla="*/ 2401277 w 2401276"/>
                <a:gd name="connsiteY0" fmla="*/ 1200641 h 2401282"/>
                <a:gd name="connsiteX1" fmla="*/ 1200638 w 2401276"/>
                <a:gd name="connsiteY1" fmla="*/ 2401283 h 2401282"/>
                <a:gd name="connsiteX2" fmla="*/ 0 w 2401276"/>
                <a:gd name="connsiteY2" fmla="*/ 1200641 h 2401282"/>
                <a:gd name="connsiteX3" fmla="*/ 1200638 w 2401276"/>
                <a:gd name="connsiteY3" fmla="*/ 0 h 2401282"/>
                <a:gd name="connsiteX4" fmla="*/ 2401277 w 2401276"/>
                <a:gd name="connsiteY4" fmla="*/ 1200641 h 2401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1276" h="2401282">
                  <a:moveTo>
                    <a:pt x="2401277" y="1200641"/>
                  </a:moveTo>
                  <a:cubicBezTo>
                    <a:pt x="2401277" y="1863737"/>
                    <a:pt x="1863732" y="2401283"/>
                    <a:pt x="1200638" y="2401283"/>
                  </a:cubicBezTo>
                  <a:cubicBezTo>
                    <a:pt x="537544" y="2401283"/>
                    <a:pt x="0" y="1863737"/>
                    <a:pt x="0" y="1200641"/>
                  </a:cubicBezTo>
                  <a:cubicBezTo>
                    <a:pt x="0" y="537545"/>
                    <a:pt x="537544" y="0"/>
                    <a:pt x="1200638" y="0"/>
                  </a:cubicBezTo>
                  <a:cubicBezTo>
                    <a:pt x="1863732" y="0"/>
                    <a:pt x="2401277" y="537545"/>
                    <a:pt x="2401277" y="1200641"/>
                  </a:cubicBezTo>
                  <a:close/>
                </a:path>
              </a:pathLst>
            </a:custGeom>
            <a:solidFill>
              <a:schemeClr val="tx1"/>
            </a:solidFill>
            <a:ln w="66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18B7AF8B-4C0D-448F-934D-760AF204C71C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991988" y="598516"/>
            <a:ext cx="5400000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1987" y="1425568"/>
            <a:ext cx="5400000" cy="488955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 userDrawn="1">
            <p:ph type="chart" sz="quarter" idx="29"/>
          </p:nvPr>
        </p:nvSpPr>
        <p:spPr>
          <a:xfrm>
            <a:off x="992188" y="1924046"/>
            <a:ext cx="5400000" cy="3936347"/>
          </a:xfrm>
        </p:spPr>
        <p:txBody>
          <a:bodyPr anchor="ctr">
            <a:normAutofit/>
          </a:bodyPr>
          <a:lstStyle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46214-B998-47A4-9A3D-E1277D43D35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9529310" y="1390552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31A405-9556-48CE-8FA1-466D74FB4A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522432" y="2184351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2FABA672-7054-46D6-8734-1C46875CE04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725CC624-90B2-47BF-AFAB-A943331BACD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8742407" y="3941621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tx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A542C347-035C-40A9-94A9-8FF5F71033D5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8735529" y="4735420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1C910202-3017-4BAE-B50F-4442FBC6C3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017072" y="2188274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B83929F0-6421-49F6-B4C6-87755DF67E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010194" y="2982073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1136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 Callout 3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Group 93">
            <a:extLst>
              <a:ext uri="{FF2B5EF4-FFF2-40B4-BE49-F238E27FC236}">
                <a16:creationId xmlns:a16="http://schemas.microsoft.com/office/drawing/2014/main" id="{C2664148-1A4E-4F55-BD71-B54251F10C25}"/>
              </a:ext>
            </a:extLst>
          </p:cNvPr>
          <p:cNvGrpSpPr/>
          <p:nvPr userDrawn="1"/>
        </p:nvGrpSpPr>
        <p:grpSpPr>
          <a:xfrm rot="2700000">
            <a:off x="6943940" y="318609"/>
            <a:ext cx="5590112" cy="5450237"/>
            <a:chOff x="6059431" y="181018"/>
            <a:chExt cx="6112494" cy="5959548"/>
          </a:xfrm>
        </p:grpSpPr>
        <p:sp>
          <p:nvSpPr>
            <p:cNvPr id="95" name="Graphic 3">
              <a:extLst>
                <a:ext uri="{FF2B5EF4-FFF2-40B4-BE49-F238E27FC236}">
                  <a16:creationId xmlns:a16="http://schemas.microsoft.com/office/drawing/2014/main" id="{927F663D-59A8-48E2-8F13-ECA8DA1F9D17}"/>
                </a:ext>
              </a:extLst>
            </p:cNvPr>
            <p:cNvSpPr/>
            <p:nvPr/>
          </p:nvSpPr>
          <p:spPr>
            <a:xfrm>
              <a:off x="9886593" y="480661"/>
              <a:ext cx="631261" cy="631102"/>
            </a:xfrm>
            <a:custGeom>
              <a:avLst/>
              <a:gdLst>
                <a:gd name="connsiteX0" fmla="*/ 458394 w 591282"/>
                <a:gd name="connsiteY0" fmla="*/ 591133 h 591133"/>
                <a:gd name="connsiteX1" fmla="*/ 350337 w 591282"/>
                <a:gd name="connsiteY1" fmla="*/ 536437 h 591133"/>
                <a:gd name="connsiteX2" fmla="*/ 54846 w 591282"/>
                <a:gd name="connsiteY2" fmla="*/ 240946 h 591133"/>
                <a:gd name="connsiteX3" fmla="*/ 25497 w 591282"/>
                <a:gd name="connsiteY3" fmla="*/ 54846 h 591133"/>
                <a:gd name="connsiteX4" fmla="*/ 211596 w 591282"/>
                <a:gd name="connsiteY4" fmla="*/ 25498 h 591133"/>
                <a:gd name="connsiteX5" fmla="*/ 565785 w 591282"/>
                <a:gd name="connsiteY5" fmla="*/ 379687 h 591133"/>
                <a:gd name="connsiteX6" fmla="*/ 536436 w 591282"/>
                <a:gd name="connsiteY6" fmla="*/ 565786 h 591133"/>
                <a:gd name="connsiteX7" fmla="*/ 458394 w 591282"/>
                <a:gd name="connsiteY7" fmla="*/ 591133 h 59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282" h="591133">
                  <a:moveTo>
                    <a:pt x="458394" y="591133"/>
                  </a:moveTo>
                  <a:cubicBezTo>
                    <a:pt x="417039" y="591133"/>
                    <a:pt x="376351" y="571789"/>
                    <a:pt x="350337" y="536437"/>
                  </a:cubicBezTo>
                  <a:cubicBezTo>
                    <a:pt x="267626" y="423043"/>
                    <a:pt x="168240" y="323657"/>
                    <a:pt x="54846" y="240946"/>
                  </a:cubicBezTo>
                  <a:cubicBezTo>
                    <a:pt x="-4518" y="197590"/>
                    <a:pt x="-17859" y="114212"/>
                    <a:pt x="25497" y="54846"/>
                  </a:cubicBezTo>
                  <a:cubicBezTo>
                    <a:pt x="68854" y="-4519"/>
                    <a:pt x="152232" y="-17859"/>
                    <a:pt x="211596" y="25498"/>
                  </a:cubicBezTo>
                  <a:cubicBezTo>
                    <a:pt x="347669" y="124217"/>
                    <a:pt x="466398" y="243614"/>
                    <a:pt x="565785" y="379687"/>
                  </a:cubicBezTo>
                  <a:cubicBezTo>
                    <a:pt x="609141" y="439052"/>
                    <a:pt x="595801" y="522430"/>
                    <a:pt x="536436" y="565786"/>
                  </a:cubicBezTo>
                  <a:cubicBezTo>
                    <a:pt x="513090" y="582462"/>
                    <a:pt x="485742" y="591133"/>
                    <a:pt x="458394" y="591133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Graphic 3">
              <a:extLst>
                <a:ext uri="{FF2B5EF4-FFF2-40B4-BE49-F238E27FC236}">
                  <a16:creationId xmlns:a16="http://schemas.microsoft.com/office/drawing/2014/main" id="{FE5866C9-58D7-4A56-902F-FCF90D7DD003}"/>
                </a:ext>
              </a:extLst>
            </p:cNvPr>
            <p:cNvSpPr/>
            <p:nvPr userDrawn="1"/>
          </p:nvSpPr>
          <p:spPr>
            <a:xfrm>
              <a:off x="8965981" y="181018"/>
              <a:ext cx="769239" cy="361046"/>
            </a:xfrm>
            <a:custGeom>
              <a:avLst/>
              <a:gdLst>
                <a:gd name="connsiteX0" fmla="*/ 586979 w 720522"/>
                <a:gd name="connsiteY0" fmla="*/ 338181 h 338180"/>
                <a:gd name="connsiteX1" fmla="*/ 545624 w 720522"/>
                <a:gd name="connsiteY1" fmla="*/ 331511 h 338180"/>
                <a:gd name="connsiteX2" fmla="*/ 133404 w 720522"/>
                <a:gd name="connsiteY2" fmla="*/ 266809 h 338180"/>
                <a:gd name="connsiteX3" fmla="*/ 0 w 720522"/>
                <a:gd name="connsiteY3" fmla="*/ 133405 h 338180"/>
                <a:gd name="connsiteX4" fmla="*/ 133404 w 720522"/>
                <a:gd name="connsiteY4" fmla="*/ 0 h 338180"/>
                <a:gd name="connsiteX5" fmla="*/ 628334 w 720522"/>
                <a:gd name="connsiteY5" fmla="*/ 78042 h 338180"/>
                <a:gd name="connsiteX6" fmla="*/ 713713 w 720522"/>
                <a:gd name="connsiteY6" fmla="*/ 246131 h 338180"/>
                <a:gd name="connsiteX7" fmla="*/ 586979 w 720522"/>
                <a:gd name="connsiteY7" fmla="*/ 338181 h 33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0522" h="338180">
                  <a:moveTo>
                    <a:pt x="586979" y="338181"/>
                  </a:moveTo>
                  <a:cubicBezTo>
                    <a:pt x="573638" y="338181"/>
                    <a:pt x="559631" y="336180"/>
                    <a:pt x="545624" y="331511"/>
                  </a:cubicBezTo>
                  <a:cubicBezTo>
                    <a:pt x="412886" y="288154"/>
                    <a:pt x="274146" y="266809"/>
                    <a:pt x="133404" y="266809"/>
                  </a:cubicBezTo>
                  <a:cubicBezTo>
                    <a:pt x="60032" y="266809"/>
                    <a:pt x="0" y="206777"/>
                    <a:pt x="0" y="133405"/>
                  </a:cubicBezTo>
                  <a:cubicBezTo>
                    <a:pt x="0" y="60032"/>
                    <a:pt x="60032" y="0"/>
                    <a:pt x="133404" y="0"/>
                  </a:cubicBezTo>
                  <a:cubicBezTo>
                    <a:pt x="302161" y="0"/>
                    <a:pt x="468916" y="26014"/>
                    <a:pt x="628334" y="78042"/>
                  </a:cubicBezTo>
                  <a:cubicBezTo>
                    <a:pt x="698371" y="100721"/>
                    <a:pt x="737058" y="176094"/>
                    <a:pt x="713713" y="246131"/>
                  </a:cubicBezTo>
                  <a:cubicBezTo>
                    <a:pt x="695703" y="302161"/>
                    <a:pt x="643009" y="338181"/>
                    <a:pt x="586979" y="338181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Graphic 3">
              <a:extLst>
                <a:ext uri="{FF2B5EF4-FFF2-40B4-BE49-F238E27FC236}">
                  <a16:creationId xmlns:a16="http://schemas.microsoft.com/office/drawing/2014/main" id="{803BB914-6364-4AD9-8A20-68883120CE8E}"/>
                </a:ext>
              </a:extLst>
            </p:cNvPr>
            <p:cNvSpPr/>
            <p:nvPr/>
          </p:nvSpPr>
          <p:spPr>
            <a:xfrm>
              <a:off x="7399314" y="479949"/>
              <a:ext cx="930191" cy="1552589"/>
            </a:xfrm>
            <a:custGeom>
              <a:avLst/>
              <a:gdLst>
                <a:gd name="connsiteX0" fmla="*/ 133404 w 871280"/>
                <a:gd name="connsiteY0" fmla="*/ 1454261 h 1454260"/>
                <a:gd name="connsiteX1" fmla="*/ 0 w 871280"/>
                <a:gd name="connsiteY1" fmla="*/ 1320856 h 1454260"/>
                <a:gd name="connsiteX2" fmla="*/ 78041 w 871280"/>
                <a:gd name="connsiteY2" fmla="*/ 825925 h 1454260"/>
                <a:gd name="connsiteX3" fmla="*/ 305496 w 871280"/>
                <a:gd name="connsiteY3" fmla="*/ 379687 h 1454260"/>
                <a:gd name="connsiteX4" fmla="*/ 659684 w 871280"/>
                <a:gd name="connsiteY4" fmla="*/ 25498 h 1454260"/>
                <a:gd name="connsiteX5" fmla="*/ 845783 w 871280"/>
                <a:gd name="connsiteY5" fmla="*/ 54847 h 1454260"/>
                <a:gd name="connsiteX6" fmla="*/ 816434 w 871280"/>
                <a:gd name="connsiteY6" fmla="*/ 240946 h 1454260"/>
                <a:gd name="connsiteX7" fmla="*/ 520944 w 871280"/>
                <a:gd name="connsiteY7" fmla="*/ 536437 h 1454260"/>
                <a:gd name="connsiteX8" fmla="*/ 331509 w 871280"/>
                <a:gd name="connsiteY8" fmla="*/ 907969 h 1454260"/>
                <a:gd name="connsiteX9" fmla="*/ 266809 w 871280"/>
                <a:gd name="connsiteY9" fmla="*/ 1320189 h 1454260"/>
                <a:gd name="connsiteX10" fmla="*/ 133404 w 871280"/>
                <a:gd name="connsiteY10" fmla="*/ 1454261 h 1454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1280" h="1454260">
                  <a:moveTo>
                    <a:pt x="133404" y="1454261"/>
                  </a:moveTo>
                  <a:cubicBezTo>
                    <a:pt x="60032" y="1454261"/>
                    <a:pt x="0" y="1394229"/>
                    <a:pt x="0" y="1320856"/>
                  </a:cubicBezTo>
                  <a:cubicBezTo>
                    <a:pt x="0" y="1152100"/>
                    <a:pt x="26014" y="985344"/>
                    <a:pt x="78041" y="825925"/>
                  </a:cubicBezTo>
                  <a:cubicBezTo>
                    <a:pt x="130069" y="665840"/>
                    <a:pt x="206777" y="515759"/>
                    <a:pt x="305496" y="379687"/>
                  </a:cubicBezTo>
                  <a:cubicBezTo>
                    <a:pt x="404215" y="243614"/>
                    <a:pt x="523612" y="124884"/>
                    <a:pt x="659684" y="25498"/>
                  </a:cubicBezTo>
                  <a:cubicBezTo>
                    <a:pt x="719049" y="-17859"/>
                    <a:pt x="802427" y="-4519"/>
                    <a:pt x="845783" y="54847"/>
                  </a:cubicBezTo>
                  <a:cubicBezTo>
                    <a:pt x="889139" y="114212"/>
                    <a:pt x="875799" y="197590"/>
                    <a:pt x="816434" y="240946"/>
                  </a:cubicBezTo>
                  <a:cubicBezTo>
                    <a:pt x="703040" y="323657"/>
                    <a:pt x="603654" y="423043"/>
                    <a:pt x="520944" y="536437"/>
                  </a:cubicBezTo>
                  <a:cubicBezTo>
                    <a:pt x="438233" y="649831"/>
                    <a:pt x="374199" y="775232"/>
                    <a:pt x="331509" y="907969"/>
                  </a:cubicBezTo>
                  <a:cubicBezTo>
                    <a:pt x="288153" y="1040707"/>
                    <a:pt x="266809" y="1179447"/>
                    <a:pt x="266809" y="1320189"/>
                  </a:cubicBezTo>
                  <a:cubicBezTo>
                    <a:pt x="266809" y="1394229"/>
                    <a:pt x="207444" y="1454261"/>
                    <a:pt x="133404" y="1454261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Graphic 3">
              <a:extLst>
                <a:ext uri="{FF2B5EF4-FFF2-40B4-BE49-F238E27FC236}">
                  <a16:creationId xmlns:a16="http://schemas.microsoft.com/office/drawing/2014/main" id="{519067CD-7AE4-41D0-8C6D-B9B9C7735C4E}"/>
                </a:ext>
              </a:extLst>
            </p:cNvPr>
            <p:cNvSpPr/>
            <p:nvPr/>
          </p:nvSpPr>
          <p:spPr>
            <a:xfrm>
              <a:off x="10455026" y="1278399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Graphic 3">
              <a:extLst>
                <a:ext uri="{FF2B5EF4-FFF2-40B4-BE49-F238E27FC236}">
                  <a16:creationId xmlns:a16="http://schemas.microsoft.com/office/drawing/2014/main" id="{C39A138D-9EC3-40C2-9F4D-7B85C52297FA}"/>
                </a:ext>
              </a:extLst>
            </p:cNvPr>
            <p:cNvSpPr/>
            <p:nvPr/>
          </p:nvSpPr>
          <p:spPr>
            <a:xfrm>
              <a:off x="8484586" y="255079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1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Graphic 3">
              <a:extLst>
                <a:ext uri="{FF2B5EF4-FFF2-40B4-BE49-F238E27FC236}">
                  <a16:creationId xmlns:a16="http://schemas.microsoft.com/office/drawing/2014/main" id="{D7EEDCDC-08EB-4732-BCEE-60699985BD9C}"/>
                </a:ext>
              </a:extLst>
            </p:cNvPr>
            <p:cNvSpPr/>
            <p:nvPr/>
          </p:nvSpPr>
          <p:spPr>
            <a:xfrm>
              <a:off x="7481920" y="2249735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1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Graphic 3">
              <a:extLst>
                <a:ext uri="{FF2B5EF4-FFF2-40B4-BE49-F238E27FC236}">
                  <a16:creationId xmlns:a16="http://schemas.microsoft.com/office/drawing/2014/main" id="{410C46F0-619B-4BDB-8997-E1DBA61E5D44}"/>
                </a:ext>
              </a:extLst>
            </p:cNvPr>
            <p:cNvSpPr/>
            <p:nvPr/>
          </p:nvSpPr>
          <p:spPr>
            <a:xfrm flipH="1">
              <a:off x="7141264" y="5762302"/>
              <a:ext cx="1253360" cy="361194"/>
            </a:xfrm>
            <a:custGeom>
              <a:avLst/>
              <a:gdLst>
                <a:gd name="connsiteX0" fmla="*/ 587118 w 1173982"/>
                <a:gd name="connsiteY0" fmla="*/ 338320 h 338319"/>
                <a:gd name="connsiteX1" fmla="*/ 92189 w 1173982"/>
                <a:gd name="connsiteY1" fmla="*/ 260279 h 338319"/>
                <a:gd name="connsiteX2" fmla="*/ 6810 w 1173982"/>
                <a:gd name="connsiteY2" fmla="*/ 92188 h 338319"/>
                <a:gd name="connsiteX3" fmla="*/ 174899 w 1173982"/>
                <a:gd name="connsiteY3" fmla="*/ 6810 h 338319"/>
                <a:gd name="connsiteX4" fmla="*/ 587118 w 1173982"/>
                <a:gd name="connsiteY4" fmla="*/ 71511 h 338319"/>
                <a:gd name="connsiteX5" fmla="*/ 999338 w 1173982"/>
                <a:gd name="connsiteY5" fmla="*/ 6810 h 338319"/>
                <a:gd name="connsiteX6" fmla="*/ 1167427 w 1173982"/>
                <a:gd name="connsiteY6" fmla="*/ 92188 h 338319"/>
                <a:gd name="connsiteX7" fmla="*/ 1082048 w 1173982"/>
                <a:gd name="connsiteY7" fmla="*/ 260279 h 338319"/>
                <a:gd name="connsiteX8" fmla="*/ 587118 w 1173982"/>
                <a:gd name="connsiteY8" fmla="*/ 338320 h 33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3982" h="338319">
                  <a:moveTo>
                    <a:pt x="587118" y="338320"/>
                  </a:moveTo>
                  <a:cubicBezTo>
                    <a:pt x="418362" y="338320"/>
                    <a:pt x="251607" y="312306"/>
                    <a:pt x="92189" y="260279"/>
                  </a:cubicBezTo>
                  <a:cubicBezTo>
                    <a:pt x="22152" y="237600"/>
                    <a:pt x="-16536" y="162226"/>
                    <a:pt x="6810" y="92188"/>
                  </a:cubicBezTo>
                  <a:cubicBezTo>
                    <a:pt x="29489" y="22151"/>
                    <a:pt x="104862" y="-16536"/>
                    <a:pt x="174899" y="6810"/>
                  </a:cubicBezTo>
                  <a:cubicBezTo>
                    <a:pt x="307637" y="50166"/>
                    <a:pt x="446377" y="71511"/>
                    <a:pt x="587118" y="71511"/>
                  </a:cubicBezTo>
                  <a:cubicBezTo>
                    <a:pt x="727860" y="71511"/>
                    <a:pt x="866600" y="49499"/>
                    <a:pt x="999338" y="6810"/>
                  </a:cubicBezTo>
                  <a:cubicBezTo>
                    <a:pt x="1069375" y="-15869"/>
                    <a:pt x="1144748" y="22151"/>
                    <a:pt x="1167427" y="92188"/>
                  </a:cubicBezTo>
                  <a:cubicBezTo>
                    <a:pt x="1190106" y="162226"/>
                    <a:pt x="1152085" y="237600"/>
                    <a:pt x="1082048" y="260279"/>
                  </a:cubicBezTo>
                  <a:cubicBezTo>
                    <a:pt x="922630" y="312306"/>
                    <a:pt x="755875" y="338320"/>
                    <a:pt x="587118" y="33832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Graphic 3">
              <a:extLst>
                <a:ext uri="{FF2B5EF4-FFF2-40B4-BE49-F238E27FC236}">
                  <a16:creationId xmlns:a16="http://schemas.microsoft.com/office/drawing/2014/main" id="{59A101A6-119A-4CCE-A375-66841D42DE20}"/>
                </a:ext>
              </a:extLst>
            </p:cNvPr>
            <p:cNvSpPr/>
            <p:nvPr/>
          </p:nvSpPr>
          <p:spPr>
            <a:xfrm flipH="1">
              <a:off x="6059431" y="4272688"/>
              <a:ext cx="583387" cy="1204911"/>
            </a:xfrm>
            <a:custGeom>
              <a:avLst/>
              <a:gdLst>
                <a:gd name="connsiteX0" fmla="*/ 133555 w 546440"/>
                <a:gd name="connsiteY0" fmla="*/ 1128603 h 1128602"/>
                <a:gd name="connsiteX1" fmla="*/ 54846 w 546440"/>
                <a:gd name="connsiteY1" fmla="*/ 1103256 h 1128602"/>
                <a:gd name="connsiteX2" fmla="*/ 25497 w 546440"/>
                <a:gd name="connsiteY2" fmla="*/ 917157 h 1128602"/>
                <a:gd name="connsiteX3" fmla="*/ 214931 w 546440"/>
                <a:gd name="connsiteY3" fmla="*/ 545625 h 1128602"/>
                <a:gd name="connsiteX4" fmla="*/ 279632 w 546440"/>
                <a:gd name="connsiteY4" fmla="*/ 133405 h 1128602"/>
                <a:gd name="connsiteX5" fmla="*/ 413037 w 546440"/>
                <a:gd name="connsiteY5" fmla="*/ 0 h 1128602"/>
                <a:gd name="connsiteX6" fmla="*/ 546441 w 546440"/>
                <a:gd name="connsiteY6" fmla="*/ 133405 h 1128602"/>
                <a:gd name="connsiteX7" fmla="*/ 468399 w 546440"/>
                <a:gd name="connsiteY7" fmla="*/ 628336 h 1128602"/>
                <a:gd name="connsiteX8" fmla="*/ 240945 w 546440"/>
                <a:gd name="connsiteY8" fmla="*/ 1074574 h 1128602"/>
                <a:gd name="connsiteX9" fmla="*/ 133555 w 546440"/>
                <a:gd name="connsiteY9" fmla="*/ 1128603 h 112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6440" h="1128602">
                  <a:moveTo>
                    <a:pt x="133555" y="1128603"/>
                  </a:moveTo>
                  <a:cubicBezTo>
                    <a:pt x="106207" y="1128603"/>
                    <a:pt x="78859" y="1120599"/>
                    <a:pt x="54846" y="1103256"/>
                  </a:cubicBezTo>
                  <a:cubicBezTo>
                    <a:pt x="-4518" y="1059900"/>
                    <a:pt x="-17859" y="976522"/>
                    <a:pt x="25497" y="917157"/>
                  </a:cubicBezTo>
                  <a:cubicBezTo>
                    <a:pt x="108208" y="803763"/>
                    <a:pt x="172242" y="678362"/>
                    <a:pt x="214931" y="545625"/>
                  </a:cubicBezTo>
                  <a:cubicBezTo>
                    <a:pt x="258288" y="412887"/>
                    <a:pt x="279632" y="274147"/>
                    <a:pt x="279632" y="133405"/>
                  </a:cubicBezTo>
                  <a:cubicBezTo>
                    <a:pt x="279632" y="60032"/>
                    <a:pt x="339664" y="0"/>
                    <a:pt x="413037" y="0"/>
                  </a:cubicBezTo>
                  <a:cubicBezTo>
                    <a:pt x="486409" y="0"/>
                    <a:pt x="546441" y="60032"/>
                    <a:pt x="546441" y="133405"/>
                  </a:cubicBezTo>
                  <a:cubicBezTo>
                    <a:pt x="546441" y="302162"/>
                    <a:pt x="520427" y="468918"/>
                    <a:pt x="468399" y="628336"/>
                  </a:cubicBezTo>
                  <a:cubicBezTo>
                    <a:pt x="416372" y="788421"/>
                    <a:pt x="339664" y="938501"/>
                    <a:pt x="240945" y="1074574"/>
                  </a:cubicBezTo>
                  <a:cubicBezTo>
                    <a:pt x="215599" y="1109926"/>
                    <a:pt x="174910" y="1128603"/>
                    <a:pt x="133555" y="1128603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Graphic 3">
              <a:extLst>
                <a:ext uri="{FF2B5EF4-FFF2-40B4-BE49-F238E27FC236}">
                  <a16:creationId xmlns:a16="http://schemas.microsoft.com/office/drawing/2014/main" id="{75AFBF88-E8AD-4EE0-AEA6-0118283C4AB2}"/>
                </a:ext>
              </a:extLst>
            </p:cNvPr>
            <p:cNvSpPr/>
            <p:nvPr/>
          </p:nvSpPr>
          <p:spPr>
            <a:xfrm flipH="1">
              <a:off x="6357648" y="2706018"/>
              <a:ext cx="1552585" cy="930033"/>
            </a:xfrm>
            <a:custGeom>
              <a:avLst/>
              <a:gdLst>
                <a:gd name="connsiteX0" fmla="*/ 1320702 w 1454257"/>
                <a:gd name="connsiteY0" fmla="*/ 871132 h 871132"/>
                <a:gd name="connsiteX1" fmla="*/ 1212645 w 1454257"/>
                <a:gd name="connsiteY1" fmla="*/ 816436 h 871132"/>
                <a:gd name="connsiteX2" fmla="*/ 917154 w 1454257"/>
                <a:gd name="connsiteY2" fmla="*/ 520945 h 871132"/>
                <a:gd name="connsiteX3" fmla="*/ 545624 w 1454257"/>
                <a:gd name="connsiteY3" fmla="*/ 331511 h 871132"/>
                <a:gd name="connsiteX4" fmla="*/ 133404 w 1454257"/>
                <a:gd name="connsiteY4" fmla="*/ 266809 h 871132"/>
                <a:gd name="connsiteX5" fmla="*/ 0 w 1454257"/>
                <a:gd name="connsiteY5" fmla="*/ 133405 h 871132"/>
                <a:gd name="connsiteX6" fmla="*/ 133404 w 1454257"/>
                <a:gd name="connsiteY6" fmla="*/ 0 h 871132"/>
                <a:gd name="connsiteX7" fmla="*/ 628334 w 1454257"/>
                <a:gd name="connsiteY7" fmla="*/ 78042 h 871132"/>
                <a:gd name="connsiteX8" fmla="*/ 1074572 w 1454257"/>
                <a:gd name="connsiteY8" fmla="*/ 305497 h 871132"/>
                <a:gd name="connsiteX9" fmla="*/ 1428760 w 1454257"/>
                <a:gd name="connsiteY9" fmla="*/ 659686 h 871132"/>
                <a:gd name="connsiteX10" fmla="*/ 1399411 w 1454257"/>
                <a:gd name="connsiteY10" fmla="*/ 845786 h 871132"/>
                <a:gd name="connsiteX11" fmla="*/ 1320702 w 1454257"/>
                <a:gd name="connsiteY11" fmla="*/ 871132 h 8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4257" h="871132">
                  <a:moveTo>
                    <a:pt x="1320702" y="871132"/>
                  </a:moveTo>
                  <a:cubicBezTo>
                    <a:pt x="1279347" y="871132"/>
                    <a:pt x="1238659" y="851788"/>
                    <a:pt x="1212645" y="816436"/>
                  </a:cubicBezTo>
                  <a:cubicBezTo>
                    <a:pt x="1129934" y="703042"/>
                    <a:pt x="1030548" y="603656"/>
                    <a:pt x="917154" y="520945"/>
                  </a:cubicBezTo>
                  <a:cubicBezTo>
                    <a:pt x="803761" y="438234"/>
                    <a:pt x="678361" y="374200"/>
                    <a:pt x="545624" y="331511"/>
                  </a:cubicBezTo>
                  <a:cubicBezTo>
                    <a:pt x="412886" y="288154"/>
                    <a:pt x="274146" y="266809"/>
                    <a:pt x="133404" y="266809"/>
                  </a:cubicBezTo>
                  <a:cubicBezTo>
                    <a:pt x="60032" y="266809"/>
                    <a:pt x="0" y="206777"/>
                    <a:pt x="0" y="133405"/>
                  </a:cubicBezTo>
                  <a:cubicBezTo>
                    <a:pt x="0" y="60032"/>
                    <a:pt x="60032" y="0"/>
                    <a:pt x="133404" y="0"/>
                  </a:cubicBezTo>
                  <a:cubicBezTo>
                    <a:pt x="302161" y="0"/>
                    <a:pt x="468916" y="26014"/>
                    <a:pt x="628334" y="78042"/>
                  </a:cubicBezTo>
                  <a:cubicBezTo>
                    <a:pt x="788419" y="130069"/>
                    <a:pt x="938499" y="206777"/>
                    <a:pt x="1074572" y="305497"/>
                  </a:cubicBezTo>
                  <a:cubicBezTo>
                    <a:pt x="1210644" y="404216"/>
                    <a:pt x="1329374" y="523613"/>
                    <a:pt x="1428760" y="659686"/>
                  </a:cubicBezTo>
                  <a:cubicBezTo>
                    <a:pt x="1472116" y="719051"/>
                    <a:pt x="1458776" y="802429"/>
                    <a:pt x="1399411" y="845786"/>
                  </a:cubicBezTo>
                  <a:cubicBezTo>
                    <a:pt x="1375398" y="862461"/>
                    <a:pt x="1348050" y="871132"/>
                    <a:pt x="1320702" y="871132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Graphic 3">
              <a:extLst>
                <a:ext uri="{FF2B5EF4-FFF2-40B4-BE49-F238E27FC236}">
                  <a16:creationId xmlns:a16="http://schemas.microsoft.com/office/drawing/2014/main" id="{CAFB9A3A-1D08-45F8-8947-E7D54A249506}"/>
                </a:ext>
              </a:extLst>
            </p:cNvPr>
            <p:cNvSpPr/>
            <p:nvPr/>
          </p:nvSpPr>
          <p:spPr>
            <a:xfrm flipH="1">
              <a:off x="6713870" y="5541693"/>
              <a:ext cx="284848" cy="284849"/>
            </a:xfrm>
            <a:custGeom>
              <a:avLst/>
              <a:gdLst>
                <a:gd name="connsiteX0" fmla="*/ 266808 w 266808"/>
                <a:gd name="connsiteY0" fmla="*/ 133405 h 266809"/>
                <a:gd name="connsiteX1" fmla="*/ 133404 w 266808"/>
                <a:gd name="connsiteY1" fmla="*/ 266810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8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8" y="133405"/>
                  </a:moveTo>
                  <a:cubicBezTo>
                    <a:pt x="266808" y="207082"/>
                    <a:pt x="207081" y="266810"/>
                    <a:pt x="133404" y="266810"/>
                  </a:cubicBezTo>
                  <a:cubicBezTo>
                    <a:pt x="59727" y="266810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8" y="59727"/>
                    <a:pt x="266808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5" name="Graphic 3">
              <a:extLst>
                <a:ext uri="{FF2B5EF4-FFF2-40B4-BE49-F238E27FC236}">
                  <a16:creationId xmlns:a16="http://schemas.microsoft.com/office/drawing/2014/main" id="{F3902E78-3595-4D9F-9AC4-2FBBFE65A348}"/>
                </a:ext>
              </a:extLst>
            </p:cNvPr>
            <p:cNvSpPr/>
            <p:nvPr/>
          </p:nvSpPr>
          <p:spPr>
            <a:xfrm>
              <a:off x="9836732" y="5779372"/>
              <a:ext cx="1253360" cy="361194"/>
            </a:xfrm>
            <a:custGeom>
              <a:avLst/>
              <a:gdLst>
                <a:gd name="connsiteX0" fmla="*/ 587118 w 1173982"/>
                <a:gd name="connsiteY0" fmla="*/ 338320 h 338319"/>
                <a:gd name="connsiteX1" fmla="*/ 92189 w 1173982"/>
                <a:gd name="connsiteY1" fmla="*/ 260279 h 338319"/>
                <a:gd name="connsiteX2" fmla="*/ 6810 w 1173982"/>
                <a:gd name="connsiteY2" fmla="*/ 92188 h 338319"/>
                <a:gd name="connsiteX3" fmla="*/ 174899 w 1173982"/>
                <a:gd name="connsiteY3" fmla="*/ 6810 h 338319"/>
                <a:gd name="connsiteX4" fmla="*/ 587118 w 1173982"/>
                <a:gd name="connsiteY4" fmla="*/ 71511 h 338319"/>
                <a:gd name="connsiteX5" fmla="*/ 999338 w 1173982"/>
                <a:gd name="connsiteY5" fmla="*/ 6810 h 338319"/>
                <a:gd name="connsiteX6" fmla="*/ 1167427 w 1173982"/>
                <a:gd name="connsiteY6" fmla="*/ 92188 h 338319"/>
                <a:gd name="connsiteX7" fmla="*/ 1082048 w 1173982"/>
                <a:gd name="connsiteY7" fmla="*/ 260279 h 338319"/>
                <a:gd name="connsiteX8" fmla="*/ 587118 w 1173982"/>
                <a:gd name="connsiteY8" fmla="*/ 338320 h 33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3982" h="338319">
                  <a:moveTo>
                    <a:pt x="587118" y="338320"/>
                  </a:moveTo>
                  <a:cubicBezTo>
                    <a:pt x="418362" y="338320"/>
                    <a:pt x="251607" y="312306"/>
                    <a:pt x="92189" y="260279"/>
                  </a:cubicBezTo>
                  <a:cubicBezTo>
                    <a:pt x="22152" y="237600"/>
                    <a:pt x="-16536" y="162226"/>
                    <a:pt x="6810" y="92188"/>
                  </a:cubicBezTo>
                  <a:cubicBezTo>
                    <a:pt x="29489" y="22151"/>
                    <a:pt x="104862" y="-16536"/>
                    <a:pt x="174899" y="6810"/>
                  </a:cubicBezTo>
                  <a:cubicBezTo>
                    <a:pt x="307637" y="50166"/>
                    <a:pt x="446377" y="71511"/>
                    <a:pt x="587118" y="71511"/>
                  </a:cubicBezTo>
                  <a:cubicBezTo>
                    <a:pt x="727860" y="71511"/>
                    <a:pt x="866600" y="49499"/>
                    <a:pt x="999338" y="6810"/>
                  </a:cubicBezTo>
                  <a:cubicBezTo>
                    <a:pt x="1069375" y="-15869"/>
                    <a:pt x="1144748" y="22151"/>
                    <a:pt x="1167427" y="92188"/>
                  </a:cubicBezTo>
                  <a:cubicBezTo>
                    <a:pt x="1190106" y="162226"/>
                    <a:pt x="1152085" y="237600"/>
                    <a:pt x="1082048" y="260279"/>
                  </a:cubicBezTo>
                  <a:cubicBezTo>
                    <a:pt x="922630" y="312306"/>
                    <a:pt x="755875" y="338320"/>
                    <a:pt x="587118" y="338320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Graphic 3">
              <a:extLst>
                <a:ext uri="{FF2B5EF4-FFF2-40B4-BE49-F238E27FC236}">
                  <a16:creationId xmlns:a16="http://schemas.microsoft.com/office/drawing/2014/main" id="{54DE1486-1BE0-4F78-A60C-23C34DE70671}"/>
                </a:ext>
              </a:extLst>
            </p:cNvPr>
            <p:cNvSpPr/>
            <p:nvPr/>
          </p:nvSpPr>
          <p:spPr>
            <a:xfrm>
              <a:off x="11588538" y="4289758"/>
              <a:ext cx="583387" cy="1204911"/>
            </a:xfrm>
            <a:custGeom>
              <a:avLst/>
              <a:gdLst>
                <a:gd name="connsiteX0" fmla="*/ 133555 w 546440"/>
                <a:gd name="connsiteY0" fmla="*/ 1128603 h 1128602"/>
                <a:gd name="connsiteX1" fmla="*/ 54846 w 546440"/>
                <a:gd name="connsiteY1" fmla="*/ 1103256 h 1128602"/>
                <a:gd name="connsiteX2" fmla="*/ 25497 w 546440"/>
                <a:gd name="connsiteY2" fmla="*/ 917157 h 1128602"/>
                <a:gd name="connsiteX3" fmla="*/ 214931 w 546440"/>
                <a:gd name="connsiteY3" fmla="*/ 545625 h 1128602"/>
                <a:gd name="connsiteX4" fmla="*/ 279632 w 546440"/>
                <a:gd name="connsiteY4" fmla="*/ 133405 h 1128602"/>
                <a:gd name="connsiteX5" fmla="*/ 413037 w 546440"/>
                <a:gd name="connsiteY5" fmla="*/ 0 h 1128602"/>
                <a:gd name="connsiteX6" fmla="*/ 546441 w 546440"/>
                <a:gd name="connsiteY6" fmla="*/ 133405 h 1128602"/>
                <a:gd name="connsiteX7" fmla="*/ 468399 w 546440"/>
                <a:gd name="connsiteY7" fmla="*/ 628336 h 1128602"/>
                <a:gd name="connsiteX8" fmla="*/ 240945 w 546440"/>
                <a:gd name="connsiteY8" fmla="*/ 1074574 h 1128602"/>
                <a:gd name="connsiteX9" fmla="*/ 133555 w 546440"/>
                <a:gd name="connsiteY9" fmla="*/ 1128603 h 1128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6440" h="1128602">
                  <a:moveTo>
                    <a:pt x="133555" y="1128603"/>
                  </a:moveTo>
                  <a:cubicBezTo>
                    <a:pt x="106207" y="1128603"/>
                    <a:pt x="78859" y="1120599"/>
                    <a:pt x="54846" y="1103256"/>
                  </a:cubicBezTo>
                  <a:cubicBezTo>
                    <a:pt x="-4518" y="1059900"/>
                    <a:pt x="-17859" y="976522"/>
                    <a:pt x="25497" y="917157"/>
                  </a:cubicBezTo>
                  <a:cubicBezTo>
                    <a:pt x="108208" y="803763"/>
                    <a:pt x="172242" y="678362"/>
                    <a:pt x="214931" y="545625"/>
                  </a:cubicBezTo>
                  <a:cubicBezTo>
                    <a:pt x="258288" y="412887"/>
                    <a:pt x="279632" y="274147"/>
                    <a:pt x="279632" y="133405"/>
                  </a:cubicBezTo>
                  <a:cubicBezTo>
                    <a:pt x="279632" y="60032"/>
                    <a:pt x="339664" y="0"/>
                    <a:pt x="413037" y="0"/>
                  </a:cubicBezTo>
                  <a:cubicBezTo>
                    <a:pt x="486409" y="0"/>
                    <a:pt x="546441" y="60032"/>
                    <a:pt x="546441" y="133405"/>
                  </a:cubicBezTo>
                  <a:cubicBezTo>
                    <a:pt x="546441" y="302162"/>
                    <a:pt x="520427" y="468918"/>
                    <a:pt x="468399" y="628336"/>
                  </a:cubicBezTo>
                  <a:cubicBezTo>
                    <a:pt x="416372" y="788421"/>
                    <a:pt x="339664" y="938501"/>
                    <a:pt x="240945" y="1074574"/>
                  </a:cubicBezTo>
                  <a:cubicBezTo>
                    <a:pt x="215599" y="1109926"/>
                    <a:pt x="174910" y="1128603"/>
                    <a:pt x="133555" y="1128603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Graphic 3">
              <a:extLst>
                <a:ext uri="{FF2B5EF4-FFF2-40B4-BE49-F238E27FC236}">
                  <a16:creationId xmlns:a16="http://schemas.microsoft.com/office/drawing/2014/main" id="{2AE8695A-2A79-4168-8E66-88B78316E9FE}"/>
                </a:ext>
              </a:extLst>
            </p:cNvPr>
            <p:cNvSpPr/>
            <p:nvPr/>
          </p:nvSpPr>
          <p:spPr>
            <a:xfrm>
              <a:off x="10321123" y="2723088"/>
              <a:ext cx="1552585" cy="930033"/>
            </a:xfrm>
            <a:custGeom>
              <a:avLst/>
              <a:gdLst>
                <a:gd name="connsiteX0" fmla="*/ 1320702 w 1454257"/>
                <a:gd name="connsiteY0" fmla="*/ 871132 h 871132"/>
                <a:gd name="connsiteX1" fmla="*/ 1212645 w 1454257"/>
                <a:gd name="connsiteY1" fmla="*/ 816436 h 871132"/>
                <a:gd name="connsiteX2" fmla="*/ 917154 w 1454257"/>
                <a:gd name="connsiteY2" fmla="*/ 520945 h 871132"/>
                <a:gd name="connsiteX3" fmla="*/ 545624 w 1454257"/>
                <a:gd name="connsiteY3" fmla="*/ 331511 h 871132"/>
                <a:gd name="connsiteX4" fmla="*/ 133404 w 1454257"/>
                <a:gd name="connsiteY4" fmla="*/ 266809 h 871132"/>
                <a:gd name="connsiteX5" fmla="*/ 0 w 1454257"/>
                <a:gd name="connsiteY5" fmla="*/ 133405 h 871132"/>
                <a:gd name="connsiteX6" fmla="*/ 133404 w 1454257"/>
                <a:gd name="connsiteY6" fmla="*/ 0 h 871132"/>
                <a:gd name="connsiteX7" fmla="*/ 628334 w 1454257"/>
                <a:gd name="connsiteY7" fmla="*/ 78042 h 871132"/>
                <a:gd name="connsiteX8" fmla="*/ 1074572 w 1454257"/>
                <a:gd name="connsiteY8" fmla="*/ 305497 h 871132"/>
                <a:gd name="connsiteX9" fmla="*/ 1428760 w 1454257"/>
                <a:gd name="connsiteY9" fmla="*/ 659686 h 871132"/>
                <a:gd name="connsiteX10" fmla="*/ 1399411 w 1454257"/>
                <a:gd name="connsiteY10" fmla="*/ 845786 h 871132"/>
                <a:gd name="connsiteX11" fmla="*/ 1320702 w 1454257"/>
                <a:gd name="connsiteY11" fmla="*/ 871132 h 8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4257" h="871132">
                  <a:moveTo>
                    <a:pt x="1320702" y="871132"/>
                  </a:moveTo>
                  <a:cubicBezTo>
                    <a:pt x="1279347" y="871132"/>
                    <a:pt x="1238659" y="851788"/>
                    <a:pt x="1212645" y="816436"/>
                  </a:cubicBezTo>
                  <a:cubicBezTo>
                    <a:pt x="1129934" y="703042"/>
                    <a:pt x="1030548" y="603656"/>
                    <a:pt x="917154" y="520945"/>
                  </a:cubicBezTo>
                  <a:cubicBezTo>
                    <a:pt x="803761" y="438234"/>
                    <a:pt x="678361" y="374200"/>
                    <a:pt x="545624" y="331511"/>
                  </a:cubicBezTo>
                  <a:cubicBezTo>
                    <a:pt x="412886" y="288154"/>
                    <a:pt x="274146" y="266809"/>
                    <a:pt x="133404" y="266809"/>
                  </a:cubicBezTo>
                  <a:cubicBezTo>
                    <a:pt x="60032" y="266809"/>
                    <a:pt x="0" y="206777"/>
                    <a:pt x="0" y="133405"/>
                  </a:cubicBezTo>
                  <a:cubicBezTo>
                    <a:pt x="0" y="60032"/>
                    <a:pt x="60032" y="0"/>
                    <a:pt x="133404" y="0"/>
                  </a:cubicBezTo>
                  <a:cubicBezTo>
                    <a:pt x="302161" y="0"/>
                    <a:pt x="468916" y="26014"/>
                    <a:pt x="628334" y="78042"/>
                  </a:cubicBezTo>
                  <a:cubicBezTo>
                    <a:pt x="788419" y="130069"/>
                    <a:pt x="938499" y="206777"/>
                    <a:pt x="1074572" y="305497"/>
                  </a:cubicBezTo>
                  <a:cubicBezTo>
                    <a:pt x="1210644" y="404216"/>
                    <a:pt x="1329374" y="523613"/>
                    <a:pt x="1428760" y="659686"/>
                  </a:cubicBezTo>
                  <a:cubicBezTo>
                    <a:pt x="1472116" y="719051"/>
                    <a:pt x="1458776" y="802429"/>
                    <a:pt x="1399411" y="845786"/>
                  </a:cubicBezTo>
                  <a:cubicBezTo>
                    <a:pt x="1375398" y="862461"/>
                    <a:pt x="1348050" y="871132"/>
                    <a:pt x="1320702" y="871132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Graphic 3">
              <a:extLst>
                <a:ext uri="{FF2B5EF4-FFF2-40B4-BE49-F238E27FC236}">
                  <a16:creationId xmlns:a16="http://schemas.microsoft.com/office/drawing/2014/main" id="{38E55B03-BB1F-4E1C-A15D-429B346371F0}"/>
                </a:ext>
              </a:extLst>
            </p:cNvPr>
            <p:cNvSpPr/>
            <p:nvPr/>
          </p:nvSpPr>
          <p:spPr>
            <a:xfrm>
              <a:off x="11810169" y="3806939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Graphic 3">
              <a:extLst>
                <a:ext uri="{FF2B5EF4-FFF2-40B4-BE49-F238E27FC236}">
                  <a16:creationId xmlns:a16="http://schemas.microsoft.com/office/drawing/2014/main" id="{F390558F-BB4A-4CD6-A0AA-374A1E249585}"/>
                </a:ext>
              </a:extLst>
            </p:cNvPr>
            <p:cNvSpPr/>
            <p:nvPr/>
          </p:nvSpPr>
          <p:spPr>
            <a:xfrm>
              <a:off x="11232638" y="5558763"/>
              <a:ext cx="284848" cy="284849"/>
            </a:xfrm>
            <a:custGeom>
              <a:avLst/>
              <a:gdLst>
                <a:gd name="connsiteX0" fmla="*/ 266808 w 266808"/>
                <a:gd name="connsiteY0" fmla="*/ 133405 h 266809"/>
                <a:gd name="connsiteX1" fmla="*/ 133404 w 266808"/>
                <a:gd name="connsiteY1" fmla="*/ 266810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8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8" y="133405"/>
                  </a:moveTo>
                  <a:cubicBezTo>
                    <a:pt x="266808" y="207082"/>
                    <a:pt x="207081" y="266810"/>
                    <a:pt x="133404" y="266810"/>
                  </a:cubicBezTo>
                  <a:cubicBezTo>
                    <a:pt x="59727" y="266810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1" y="0"/>
                    <a:pt x="266808" y="59727"/>
                    <a:pt x="266808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0" name="Graphic 3">
              <a:extLst>
                <a:ext uri="{FF2B5EF4-FFF2-40B4-BE49-F238E27FC236}">
                  <a16:creationId xmlns:a16="http://schemas.microsoft.com/office/drawing/2014/main" id="{C6FC9D89-BC40-456D-9728-C2876A192AC9}"/>
                </a:ext>
              </a:extLst>
            </p:cNvPr>
            <p:cNvSpPr/>
            <p:nvPr/>
          </p:nvSpPr>
          <p:spPr>
            <a:xfrm>
              <a:off x="9397132" y="5550444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Graphic 3">
              <a:extLst>
                <a:ext uri="{FF2B5EF4-FFF2-40B4-BE49-F238E27FC236}">
                  <a16:creationId xmlns:a16="http://schemas.microsoft.com/office/drawing/2014/main" id="{910238C4-FFA5-49C5-817E-EFAB7AB70067}"/>
                </a:ext>
              </a:extLst>
            </p:cNvPr>
            <p:cNvSpPr/>
            <p:nvPr userDrawn="1"/>
          </p:nvSpPr>
          <p:spPr>
            <a:xfrm rot="3024109">
              <a:off x="10337460" y="1878697"/>
              <a:ext cx="631261" cy="631102"/>
            </a:xfrm>
            <a:custGeom>
              <a:avLst/>
              <a:gdLst>
                <a:gd name="connsiteX0" fmla="*/ 458394 w 591282"/>
                <a:gd name="connsiteY0" fmla="*/ 591133 h 591133"/>
                <a:gd name="connsiteX1" fmla="*/ 350337 w 591282"/>
                <a:gd name="connsiteY1" fmla="*/ 536437 h 591133"/>
                <a:gd name="connsiteX2" fmla="*/ 54846 w 591282"/>
                <a:gd name="connsiteY2" fmla="*/ 240946 h 591133"/>
                <a:gd name="connsiteX3" fmla="*/ 25497 w 591282"/>
                <a:gd name="connsiteY3" fmla="*/ 54846 h 591133"/>
                <a:gd name="connsiteX4" fmla="*/ 211596 w 591282"/>
                <a:gd name="connsiteY4" fmla="*/ 25498 h 591133"/>
                <a:gd name="connsiteX5" fmla="*/ 565785 w 591282"/>
                <a:gd name="connsiteY5" fmla="*/ 379687 h 591133"/>
                <a:gd name="connsiteX6" fmla="*/ 536436 w 591282"/>
                <a:gd name="connsiteY6" fmla="*/ 565786 h 591133"/>
                <a:gd name="connsiteX7" fmla="*/ 458394 w 591282"/>
                <a:gd name="connsiteY7" fmla="*/ 591133 h 59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282" h="591133">
                  <a:moveTo>
                    <a:pt x="458394" y="591133"/>
                  </a:moveTo>
                  <a:cubicBezTo>
                    <a:pt x="417039" y="591133"/>
                    <a:pt x="376351" y="571789"/>
                    <a:pt x="350337" y="536437"/>
                  </a:cubicBezTo>
                  <a:cubicBezTo>
                    <a:pt x="267626" y="423043"/>
                    <a:pt x="168240" y="323657"/>
                    <a:pt x="54846" y="240946"/>
                  </a:cubicBezTo>
                  <a:cubicBezTo>
                    <a:pt x="-4518" y="197590"/>
                    <a:pt x="-17859" y="114212"/>
                    <a:pt x="25497" y="54846"/>
                  </a:cubicBezTo>
                  <a:cubicBezTo>
                    <a:pt x="68854" y="-4519"/>
                    <a:pt x="152232" y="-17859"/>
                    <a:pt x="211596" y="25498"/>
                  </a:cubicBezTo>
                  <a:cubicBezTo>
                    <a:pt x="347669" y="124217"/>
                    <a:pt x="466398" y="243614"/>
                    <a:pt x="565785" y="379687"/>
                  </a:cubicBezTo>
                  <a:cubicBezTo>
                    <a:pt x="609141" y="439052"/>
                    <a:pt x="595801" y="522430"/>
                    <a:pt x="536436" y="565786"/>
                  </a:cubicBezTo>
                  <a:cubicBezTo>
                    <a:pt x="513090" y="582462"/>
                    <a:pt x="485742" y="591133"/>
                    <a:pt x="458394" y="591133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" name="Graphic 3">
              <a:extLst>
                <a:ext uri="{FF2B5EF4-FFF2-40B4-BE49-F238E27FC236}">
                  <a16:creationId xmlns:a16="http://schemas.microsoft.com/office/drawing/2014/main" id="{27CF85AC-60BF-4C58-9DF3-32FD67F03EC4}"/>
                </a:ext>
              </a:extLst>
            </p:cNvPr>
            <p:cNvSpPr/>
            <p:nvPr userDrawn="1"/>
          </p:nvSpPr>
          <p:spPr>
            <a:xfrm>
              <a:off x="8958755" y="3377714"/>
              <a:ext cx="284848" cy="284849"/>
            </a:xfrm>
            <a:custGeom>
              <a:avLst/>
              <a:gdLst>
                <a:gd name="connsiteX0" fmla="*/ 266809 w 266808"/>
                <a:gd name="connsiteY0" fmla="*/ 133405 h 266809"/>
                <a:gd name="connsiteX1" fmla="*/ 133404 w 266808"/>
                <a:gd name="connsiteY1" fmla="*/ 266809 h 266809"/>
                <a:gd name="connsiteX2" fmla="*/ 0 w 266808"/>
                <a:gd name="connsiteY2" fmla="*/ 133405 h 266809"/>
                <a:gd name="connsiteX3" fmla="*/ 133404 w 266808"/>
                <a:gd name="connsiteY3" fmla="*/ 0 h 266809"/>
                <a:gd name="connsiteX4" fmla="*/ 266809 w 266808"/>
                <a:gd name="connsiteY4" fmla="*/ 133405 h 2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808" h="266809">
                  <a:moveTo>
                    <a:pt x="266809" y="133405"/>
                  </a:moveTo>
                  <a:cubicBezTo>
                    <a:pt x="266809" y="207082"/>
                    <a:pt x="207082" y="266809"/>
                    <a:pt x="133404" y="266809"/>
                  </a:cubicBezTo>
                  <a:cubicBezTo>
                    <a:pt x="59727" y="266809"/>
                    <a:pt x="0" y="207082"/>
                    <a:pt x="0" y="133405"/>
                  </a:cubicBezTo>
                  <a:cubicBezTo>
                    <a:pt x="0" y="59727"/>
                    <a:pt x="59727" y="0"/>
                    <a:pt x="133404" y="0"/>
                  </a:cubicBezTo>
                  <a:cubicBezTo>
                    <a:pt x="207082" y="0"/>
                    <a:pt x="266809" y="59727"/>
                    <a:pt x="266809" y="133405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Graphic 3">
              <a:extLst>
                <a:ext uri="{FF2B5EF4-FFF2-40B4-BE49-F238E27FC236}">
                  <a16:creationId xmlns:a16="http://schemas.microsoft.com/office/drawing/2014/main" id="{EC1114A1-9FC6-4534-90E5-A1F646D3B4E4}"/>
                </a:ext>
              </a:extLst>
            </p:cNvPr>
            <p:cNvSpPr/>
            <p:nvPr userDrawn="1"/>
          </p:nvSpPr>
          <p:spPr>
            <a:xfrm rot="5724693">
              <a:off x="8560196" y="5212051"/>
              <a:ext cx="631261" cy="631102"/>
            </a:xfrm>
            <a:custGeom>
              <a:avLst/>
              <a:gdLst>
                <a:gd name="connsiteX0" fmla="*/ 458394 w 591282"/>
                <a:gd name="connsiteY0" fmla="*/ 591133 h 591133"/>
                <a:gd name="connsiteX1" fmla="*/ 350337 w 591282"/>
                <a:gd name="connsiteY1" fmla="*/ 536437 h 591133"/>
                <a:gd name="connsiteX2" fmla="*/ 54846 w 591282"/>
                <a:gd name="connsiteY2" fmla="*/ 240946 h 591133"/>
                <a:gd name="connsiteX3" fmla="*/ 25497 w 591282"/>
                <a:gd name="connsiteY3" fmla="*/ 54846 h 591133"/>
                <a:gd name="connsiteX4" fmla="*/ 211596 w 591282"/>
                <a:gd name="connsiteY4" fmla="*/ 25498 h 591133"/>
                <a:gd name="connsiteX5" fmla="*/ 565785 w 591282"/>
                <a:gd name="connsiteY5" fmla="*/ 379687 h 591133"/>
                <a:gd name="connsiteX6" fmla="*/ 536436 w 591282"/>
                <a:gd name="connsiteY6" fmla="*/ 565786 h 591133"/>
                <a:gd name="connsiteX7" fmla="*/ 458394 w 591282"/>
                <a:gd name="connsiteY7" fmla="*/ 591133 h 59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282" h="591133">
                  <a:moveTo>
                    <a:pt x="458394" y="591133"/>
                  </a:moveTo>
                  <a:cubicBezTo>
                    <a:pt x="417039" y="591133"/>
                    <a:pt x="376351" y="571789"/>
                    <a:pt x="350337" y="536437"/>
                  </a:cubicBezTo>
                  <a:cubicBezTo>
                    <a:pt x="267626" y="423043"/>
                    <a:pt x="168240" y="323657"/>
                    <a:pt x="54846" y="240946"/>
                  </a:cubicBezTo>
                  <a:cubicBezTo>
                    <a:pt x="-4518" y="197590"/>
                    <a:pt x="-17859" y="114212"/>
                    <a:pt x="25497" y="54846"/>
                  </a:cubicBezTo>
                  <a:cubicBezTo>
                    <a:pt x="68854" y="-4519"/>
                    <a:pt x="152232" y="-17859"/>
                    <a:pt x="211596" y="25498"/>
                  </a:cubicBezTo>
                  <a:cubicBezTo>
                    <a:pt x="347669" y="124217"/>
                    <a:pt x="466398" y="243614"/>
                    <a:pt x="565785" y="379687"/>
                  </a:cubicBezTo>
                  <a:cubicBezTo>
                    <a:pt x="609141" y="439052"/>
                    <a:pt x="595801" y="522430"/>
                    <a:pt x="536436" y="565786"/>
                  </a:cubicBezTo>
                  <a:cubicBezTo>
                    <a:pt x="513090" y="582462"/>
                    <a:pt x="485742" y="591133"/>
                    <a:pt x="458394" y="591133"/>
                  </a:cubicBezTo>
                  <a:close/>
                </a:path>
              </a:pathLst>
            </a:custGeom>
            <a:noFill/>
            <a:ln w="15875" cap="flat">
              <a:solidFill>
                <a:schemeClr val="tx2">
                  <a:lumMod val="60000"/>
                  <a:lumOff val="40000"/>
                  <a:alpha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74" name="Graphic 3">
            <a:extLst>
              <a:ext uri="{FF2B5EF4-FFF2-40B4-BE49-F238E27FC236}">
                <a16:creationId xmlns:a16="http://schemas.microsoft.com/office/drawing/2014/main" id="{4C9E51F3-2BC7-4528-8560-933354FAC26C}"/>
              </a:ext>
            </a:extLst>
          </p:cNvPr>
          <p:cNvSpPr/>
          <p:nvPr/>
        </p:nvSpPr>
        <p:spPr>
          <a:xfrm rot="2700000">
            <a:off x="9394201" y="1030741"/>
            <a:ext cx="2344544" cy="2344551"/>
          </a:xfrm>
          <a:custGeom>
            <a:avLst/>
            <a:gdLst>
              <a:gd name="connsiteX0" fmla="*/ 2401277 w 2401276"/>
              <a:gd name="connsiteY0" fmla="*/ 1200641 h 2401282"/>
              <a:gd name="connsiteX1" fmla="*/ 1200638 w 2401276"/>
              <a:gd name="connsiteY1" fmla="*/ 2401283 h 2401282"/>
              <a:gd name="connsiteX2" fmla="*/ 0 w 2401276"/>
              <a:gd name="connsiteY2" fmla="*/ 1200641 h 2401282"/>
              <a:gd name="connsiteX3" fmla="*/ 1200638 w 2401276"/>
              <a:gd name="connsiteY3" fmla="*/ 0 h 2401282"/>
              <a:gd name="connsiteX4" fmla="*/ 2401277 w 2401276"/>
              <a:gd name="connsiteY4" fmla="*/ 1200641 h 2401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1276" h="2401282">
                <a:moveTo>
                  <a:pt x="2401277" y="1200641"/>
                </a:moveTo>
                <a:cubicBezTo>
                  <a:pt x="2401277" y="1863737"/>
                  <a:pt x="1863732" y="2401283"/>
                  <a:pt x="1200638" y="2401283"/>
                </a:cubicBezTo>
                <a:cubicBezTo>
                  <a:pt x="537544" y="2401283"/>
                  <a:pt x="0" y="1863737"/>
                  <a:pt x="0" y="1200641"/>
                </a:cubicBezTo>
                <a:cubicBezTo>
                  <a:pt x="0" y="537545"/>
                  <a:pt x="537544" y="0"/>
                  <a:pt x="1200638" y="0"/>
                </a:cubicBezTo>
                <a:cubicBezTo>
                  <a:pt x="1863732" y="0"/>
                  <a:pt x="2401277" y="537545"/>
                  <a:pt x="2401277" y="1200641"/>
                </a:cubicBezTo>
                <a:close/>
              </a:path>
            </a:pathLst>
          </a:custGeom>
          <a:solidFill>
            <a:schemeClr val="bg1"/>
          </a:solidFill>
          <a:ln w="666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73" name="Graphic 3">
            <a:extLst>
              <a:ext uri="{FF2B5EF4-FFF2-40B4-BE49-F238E27FC236}">
                <a16:creationId xmlns:a16="http://schemas.microsoft.com/office/drawing/2014/main" id="{1EB489A0-CE2A-4205-99AC-A6B973F53D37}"/>
              </a:ext>
            </a:extLst>
          </p:cNvPr>
          <p:cNvSpPr/>
          <p:nvPr userDrawn="1"/>
        </p:nvSpPr>
        <p:spPr>
          <a:xfrm rot="2700000">
            <a:off x="8599559" y="3547731"/>
            <a:ext cx="2344544" cy="2344551"/>
          </a:xfrm>
          <a:custGeom>
            <a:avLst/>
            <a:gdLst>
              <a:gd name="connsiteX0" fmla="*/ 2401277 w 2401276"/>
              <a:gd name="connsiteY0" fmla="*/ 1200641 h 2401282"/>
              <a:gd name="connsiteX1" fmla="*/ 1200638 w 2401276"/>
              <a:gd name="connsiteY1" fmla="*/ 2401283 h 2401282"/>
              <a:gd name="connsiteX2" fmla="*/ 0 w 2401276"/>
              <a:gd name="connsiteY2" fmla="*/ 1200641 h 2401282"/>
              <a:gd name="connsiteX3" fmla="*/ 1200638 w 2401276"/>
              <a:gd name="connsiteY3" fmla="*/ 0 h 2401282"/>
              <a:gd name="connsiteX4" fmla="*/ 2401277 w 2401276"/>
              <a:gd name="connsiteY4" fmla="*/ 1200641 h 2401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1276" h="2401282">
                <a:moveTo>
                  <a:pt x="2401277" y="1200641"/>
                </a:moveTo>
                <a:cubicBezTo>
                  <a:pt x="2401277" y="1863737"/>
                  <a:pt x="1863732" y="2401283"/>
                  <a:pt x="1200638" y="2401283"/>
                </a:cubicBezTo>
                <a:cubicBezTo>
                  <a:pt x="537544" y="2401283"/>
                  <a:pt x="0" y="1863737"/>
                  <a:pt x="0" y="1200641"/>
                </a:cubicBezTo>
                <a:cubicBezTo>
                  <a:pt x="0" y="537545"/>
                  <a:pt x="537544" y="0"/>
                  <a:pt x="1200638" y="0"/>
                </a:cubicBezTo>
                <a:cubicBezTo>
                  <a:pt x="1863732" y="0"/>
                  <a:pt x="2401277" y="537545"/>
                  <a:pt x="2401277" y="1200641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666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Graphic 3">
            <a:extLst>
              <a:ext uri="{FF2B5EF4-FFF2-40B4-BE49-F238E27FC236}">
                <a16:creationId xmlns:a16="http://schemas.microsoft.com/office/drawing/2014/main" id="{B41323E3-D75E-4D01-BA8E-AA1261A65B78}"/>
              </a:ext>
            </a:extLst>
          </p:cNvPr>
          <p:cNvSpPr/>
          <p:nvPr userDrawn="1"/>
        </p:nvSpPr>
        <p:spPr>
          <a:xfrm rot="2700000">
            <a:off x="6872430" y="1830165"/>
            <a:ext cx="2344544" cy="2344551"/>
          </a:xfrm>
          <a:custGeom>
            <a:avLst/>
            <a:gdLst>
              <a:gd name="connsiteX0" fmla="*/ 2401277 w 2401276"/>
              <a:gd name="connsiteY0" fmla="*/ 1200641 h 2401282"/>
              <a:gd name="connsiteX1" fmla="*/ 1200638 w 2401276"/>
              <a:gd name="connsiteY1" fmla="*/ 2401283 h 2401282"/>
              <a:gd name="connsiteX2" fmla="*/ 0 w 2401276"/>
              <a:gd name="connsiteY2" fmla="*/ 1200641 h 2401282"/>
              <a:gd name="connsiteX3" fmla="*/ 1200638 w 2401276"/>
              <a:gd name="connsiteY3" fmla="*/ 0 h 2401282"/>
              <a:gd name="connsiteX4" fmla="*/ 2401277 w 2401276"/>
              <a:gd name="connsiteY4" fmla="*/ 1200641 h 2401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1276" h="2401282">
                <a:moveTo>
                  <a:pt x="2401277" y="1200641"/>
                </a:moveTo>
                <a:cubicBezTo>
                  <a:pt x="2401277" y="1863737"/>
                  <a:pt x="1863732" y="2401283"/>
                  <a:pt x="1200638" y="2401283"/>
                </a:cubicBezTo>
                <a:cubicBezTo>
                  <a:pt x="537544" y="2401283"/>
                  <a:pt x="0" y="1863737"/>
                  <a:pt x="0" y="1200641"/>
                </a:cubicBezTo>
                <a:cubicBezTo>
                  <a:pt x="0" y="537545"/>
                  <a:pt x="537544" y="0"/>
                  <a:pt x="1200638" y="0"/>
                </a:cubicBezTo>
                <a:cubicBezTo>
                  <a:pt x="1863732" y="0"/>
                  <a:pt x="2401277" y="537545"/>
                  <a:pt x="2401277" y="1200641"/>
                </a:cubicBezTo>
                <a:close/>
              </a:path>
            </a:pathLst>
          </a:custGeom>
          <a:solidFill>
            <a:schemeClr val="tx1"/>
          </a:solidFill>
          <a:ln w="666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B7AF8B-4C0D-448F-934D-760AF204C71C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991988" y="598516"/>
            <a:ext cx="5400000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3AA3FA1-1E93-43BA-8053-B0BCB9CC695C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1987" y="1425568"/>
            <a:ext cx="5400000" cy="488955"/>
          </a:xfrm>
        </p:spPr>
        <p:txBody>
          <a:bodyPr>
            <a:normAutofit/>
          </a:bodyPr>
          <a:lstStyle>
            <a:lvl1pPr algn="l">
              <a:defRPr sz="1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Chart Title</a:t>
            </a:r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A3142F4C-6216-4429-A4CB-DFE0C6B98767}"/>
              </a:ext>
            </a:extLst>
          </p:cNvPr>
          <p:cNvSpPr>
            <a:spLocks noGrp="1"/>
          </p:cNvSpPr>
          <p:nvPr userDrawn="1">
            <p:ph type="chart" sz="quarter" idx="29"/>
          </p:nvPr>
        </p:nvSpPr>
        <p:spPr>
          <a:xfrm>
            <a:off x="992188" y="1924046"/>
            <a:ext cx="5400000" cy="3936347"/>
          </a:xfrm>
        </p:spPr>
        <p:txBody>
          <a:bodyPr anchor="ctr">
            <a:normAutofit/>
          </a:bodyPr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A46214-B998-47A4-9A3D-E1277D43D351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9529310" y="1390552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tx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31A405-9556-48CE-8FA1-466D74FB4A9B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9522432" y="2184351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2FABA672-7054-46D6-8734-1C46875CE042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725CC624-90B2-47BF-AFAB-A943331BACDB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8742407" y="3941621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tx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A542C347-035C-40A9-94A9-8FF5F71033D5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8735529" y="4735420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1C910202-3017-4BAE-B50F-4442FBC6C335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7017072" y="2188274"/>
            <a:ext cx="2052000" cy="893643"/>
          </a:xfrm>
        </p:spPr>
        <p:txBody>
          <a:bodyPr>
            <a:noAutofit/>
          </a:bodyPr>
          <a:lstStyle>
            <a:lvl1pPr algn="ctr">
              <a:defRPr sz="480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##%</a:t>
            </a:r>
            <a:endParaRPr lang="en-GB" dirty="0"/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B83929F0-6421-49F6-B4C6-87755DF67EAE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7010194" y="2982073"/>
            <a:ext cx="2052000" cy="893643"/>
          </a:xfrm>
        </p:spPr>
        <p:txBody>
          <a:bodyPr>
            <a:noAutofit/>
          </a:bodyPr>
          <a:lstStyle>
            <a:lvl1pPr algn="ctr">
              <a:defRPr sz="105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Accompanying Stat</a:t>
            </a:r>
            <a:endParaRPr lang="en-GB" dirty="0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61607A0E-6869-4B9D-98E1-5C4167CCC6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1763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c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6092DC88-1FA2-4158-89F2-FAAB9A2DF5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2359" y="-698025"/>
            <a:ext cx="798477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8" y="1913446"/>
            <a:ext cx="3378230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2B33FC4-DC67-4691-8C82-E7F71B5E1E1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4" y="2730975"/>
            <a:ext cx="3370262" cy="1679580"/>
          </a:xfrm>
        </p:spPr>
        <p:txBody>
          <a:bodyPr>
            <a:normAutofit/>
          </a:bodyPr>
          <a:lstStyle>
            <a:lvl1pPr algn="l">
              <a:defRPr sz="1400">
                <a:solidFill>
                  <a:schemeClr val="tx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8658879-B7C5-480A-AC24-7448D6A1664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797248" y="1500999"/>
            <a:ext cx="3474996" cy="3475003"/>
          </a:xfrm>
        </p:spPr>
        <p:txBody>
          <a:bodyPr anchor="ctr">
            <a:normAutofit/>
          </a:bodyPr>
          <a:lstStyle>
            <a:lvl1pPr algn="ctr">
              <a:defRPr sz="7200" b="0" i="0">
                <a:solidFill>
                  <a:schemeClr val="tx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76%</a:t>
            </a:r>
          </a:p>
        </p:txBody>
      </p:sp>
      <p:sp>
        <p:nvSpPr>
          <p:cNvPr id="5" name="Circle: Hollow 4">
            <a:extLst>
              <a:ext uri="{FF2B5EF4-FFF2-40B4-BE49-F238E27FC236}">
                <a16:creationId xmlns:a16="http://schemas.microsoft.com/office/drawing/2014/main" id="{7C338560-29A6-40C2-9F50-F059D1CF62DA}"/>
              </a:ext>
            </a:extLst>
          </p:cNvPr>
          <p:cNvSpPr/>
          <p:nvPr userDrawn="1"/>
        </p:nvSpPr>
        <p:spPr>
          <a:xfrm>
            <a:off x="6698745" y="1402500"/>
            <a:ext cx="3672000" cy="3672000"/>
          </a:xfrm>
          <a:prstGeom prst="donut">
            <a:avLst>
              <a:gd name="adj" fmla="val 5813"/>
            </a:avLst>
          </a:prstGeom>
          <a:solidFill>
            <a:schemeClr val="accent3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724F12D9-DD8E-483D-BA78-7A4A0DC43BF6}"/>
              </a:ext>
            </a:extLst>
          </p:cNvPr>
          <p:cNvSpPr/>
          <p:nvPr userDrawn="1"/>
        </p:nvSpPr>
        <p:spPr>
          <a:xfrm flipH="1">
            <a:off x="6797247" y="1500999"/>
            <a:ext cx="3474997" cy="3475003"/>
          </a:xfrm>
          <a:prstGeom prst="arc">
            <a:avLst>
              <a:gd name="adj1" fmla="val 15555"/>
              <a:gd name="adj2" fmla="val 16212414"/>
            </a:avLst>
          </a:prstGeom>
          <a:ln w="457200" cap="rnd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tIns="0" bIns="0" rtlCol="0" anchor="ctr"/>
          <a:lstStyle/>
          <a:p>
            <a:pPr algn="ctr"/>
            <a:endParaRPr lang="en-US" sz="36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35BB6EFB-570C-4152-9F78-E53E52CA82E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2FE7F2-83A0-46F6-9E65-FCA53C746115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2942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cent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6092DC88-1FA2-4158-89F2-FAAB9A2DF5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2359" y="-698025"/>
            <a:ext cx="798477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988" y="1913446"/>
            <a:ext cx="3378230" cy="81752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2B33FC4-DC67-4691-8C82-E7F71B5E1E1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1714" y="2730975"/>
            <a:ext cx="3370262" cy="1679580"/>
          </a:xfrm>
        </p:spPr>
        <p:txBody>
          <a:bodyPr>
            <a:norm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8658879-B7C5-480A-AC24-7448D6A1664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797248" y="1500999"/>
            <a:ext cx="3474996" cy="3475003"/>
          </a:xfrm>
        </p:spPr>
        <p:txBody>
          <a:bodyPr anchor="ctr">
            <a:normAutofit/>
          </a:bodyPr>
          <a:lstStyle>
            <a:lvl1pPr algn="ctr">
              <a:defRPr sz="7200" b="0" i="0">
                <a:solidFill>
                  <a:schemeClr val="bg1"/>
                </a:solidFill>
                <a:latin typeface="Hurme FIN Mono 1a" panose="020B0609030202010107" pitchFamily="49" charset="0"/>
                <a:ea typeface="Hurme FIN Mono 1a" panose="020B0609030202010107" pitchFamily="49" charset="0"/>
              </a:defRPr>
            </a:lvl1pPr>
          </a:lstStyle>
          <a:p>
            <a:pPr lvl="0"/>
            <a:r>
              <a:rPr lang="en-US" dirty="0"/>
              <a:t>76%</a:t>
            </a:r>
          </a:p>
        </p:txBody>
      </p:sp>
      <p:sp>
        <p:nvSpPr>
          <p:cNvPr id="5" name="Circle: Hollow 4">
            <a:extLst>
              <a:ext uri="{FF2B5EF4-FFF2-40B4-BE49-F238E27FC236}">
                <a16:creationId xmlns:a16="http://schemas.microsoft.com/office/drawing/2014/main" id="{7C338560-29A6-40C2-9F50-F059D1CF62DA}"/>
              </a:ext>
            </a:extLst>
          </p:cNvPr>
          <p:cNvSpPr/>
          <p:nvPr userDrawn="1"/>
        </p:nvSpPr>
        <p:spPr>
          <a:xfrm>
            <a:off x="6698745" y="1402500"/>
            <a:ext cx="3672000" cy="3672000"/>
          </a:xfrm>
          <a:prstGeom prst="donut">
            <a:avLst>
              <a:gd name="adj" fmla="val 5813"/>
            </a:avLst>
          </a:prstGeom>
          <a:solidFill>
            <a:schemeClr val="tx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724F12D9-DD8E-483D-BA78-7A4A0DC43BF6}"/>
              </a:ext>
            </a:extLst>
          </p:cNvPr>
          <p:cNvSpPr/>
          <p:nvPr userDrawn="1"/>
        </p:nvSpPr>
        <p:spPr>
          <a:xfrm flipH="1">
            <a:off x="6797247" y="1500999"/>
            <a:ext cx="3474997" cy="3475003"/>
          </a:xfrm>
          <a:prstGeom prst="arc">
            <a:avLst>
              <a:gd name="adj1" fmla="val 15555"/>
              <a:gd name="adj2" fmla="val 16212414"/>
            </a:avLst>
          </a:prstGeom>
          <a:ln w="457200" cap="rnd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tIns="0" bIns="0" rtlCol="0" anchor="ctr"/>
          <a:lstStyle/>
          <a:p>
            <a:pPr algn="ctr"/>
            <a:endParaRPr lang="en-US" sz="36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D51DD3F8-3847-4D8E-B735-7297AF0D78C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1906D72-AB9C-40AB-A268-A932ADC797F3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3B3507D-C366-4D8B-94D3-E3472D5B5D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2303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- White -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35FC7712-7035-489F-B2F6-87B8095438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92037" y="-729000"/>
            <a:ext cx="7572786" cy="8315375"/>
          </a:xfrm>
          <a:custGeom>
            <a:avLst/>
            <a:gdLst>
              <a:gd name="connsiteX0" fmla="*/ 256743 w 7572786"/>
              <a:gd name="connsiteY0" fmla="*/ 6179746 h 8315375"/>
              <a:gd name="connsiteX1" fmla="*/ 481346 w 7572786"/>
              <a:gd name="connsiteY1" fmla="*/ 6289249 h 8315375"/>
              <a:gd name="connsiteX2" fmla="*/ 1284163 w 7572786"/>
              <a:gd name="connsiteY2" fmla="*/ 7091440 h 8315375"/>
              <a:gd name="connsiteX3" fmla="*/ 2294723 w 7572786"/>
              <a:gd name="connsiteY3" fmla="*/ 7607044 h 8315375"/>
              <a:gd name="connsiteX4" fmla="*/ 3415411 w 7572786"/>
              <a:gd name="connsiteY4" fmla="*/ 7783501 h 8315375"/>
              <a:gd name="connsiteX5" fmla="*/ 4536101 w 7572786"/>
              <a:gd name="connsiteY5" fmla="*/ 7607044 h 8315375"/>
              <a:gd name="connsiteX6" fmla="*/ 4871494 w 7572786"/>
              <a:gd name="connsiteY6" fmla="*/ 7777869 h 8315375"/>
              <a:gd name="connsiteX7" fmla="*/ 4700668 w 7572786"/>
              <a:gd name="connsiteY7" fmla="*/ 8113262 h 8315375"/>
              <a:gd name="connsiteX8" fmla="*/ 3414786 w 7572786"/>
              <a:gd name="connsiteY8" fmla="*/ 8315375 h 8315375"/>
              <a:gd name="connsiteX9" fmla="*/ 2129529 w 7572786"/>
              <a:gd name="connsiteY9" fmla="*/ 8112637 h 8315375"/>
              <a:gd name="connsiteX10" fmla="*/ 970670 w 7572786"/>
              <a:gd name="connsiteY10" fmla="*/ 7521319 h 8315375"/>
              <a:gd name="connsiteX11" fmla="*/ 50842 w 7572786"/>
              <a:gd name="connsiteY11" fmla="*/ 6602116 h 8315375"/>
              <a:gd name="connsiteX12" fmla="*/ 109661 w 7572786"/>
              <a:gd name="connsiteY12" fmla="*/ 6230430 h 8315375"/>
              <a:gd name="connsiteX13" fmla="*/ 256743 w 7572786"/>
              <a:gd name="connsiteY13" fmla="*/ 6179746 h 8315375"/>
              <a:gd name="connsiteX14" fmla="*/ 741378 w 7572786"/>
              <a:gd name="connsiteY14" fmla="*/ 4768042 h 8315375"/>
              <a:gd name="connsiteX15" fmla="*/ 971922 w 7572786"/>
              <a:gd name="connsiteY15" fmla="*/ 4950805 h 8315375"/>
              <a:gd name="connsiteX16" fmla="*/ 1336724 w 7572786"/>
              <a:gd name="connsiteY16" fmla="*/ 5666018 h 8315375"/>
              <a:gd name="connsiteX17" fmla="*/ 1277905 w 7572786"/>
              <a:gd name="connsiteY17" fmla="*/ 6037704 h 8315375"/>
              <a:gd name="connsiteX18" fmla="*/ 1122098 w 7572786"/>
              <a:gd name="connsiteY18" fmla="*/ 6089014 h 8315375"/>
              <a:gd name="connsiteX19" fmla="*/ 906845 w 7572786"/>
              <a:gd name="connsiteY19" fmla="*/ 5979511 h 8315375"/>
              <a:gd name="connsiteX20" fmla="*/ 465703 w 7572786"/>
              <a:gd name="connsiteY20" fmla="*/ 5115373 h 8315375"/>
              <a:gd name="connsiteX21" fmla="*/ 636528 w 7572786"/>
              <a:gd name="connsiteY21" fmla="*/ 4779980 h 8315375"/>
              <a:gd name="connsiteX22" fmla="*/ 741378 w 7572786"/>
              <a:gd name="connsiteY22" fmla="*/ 4768042 h 8315375"/>
              <a:gd name="connsiteX23" fmla="*/ 6132699 w 7572786"/>
              <a:gd name="connsiteY23" fmla="*/ 3015987 h 8315375"/>
              <a:gd name="connsiteX24" fmla="*/ 6363242 w 7572786"/>
              <a:gd name="connsiteY24" fmla="*/ 3198751 h 8315375"/>
              <a:gd name="connsiteX25" fmla="*/ 6514045 w 7572786"/>
              <a:gd name="connsiteY25" fmla="*/ 4156749 h 8315375"/>
              <a:gd name="connsiteX26" fmla="*/ 6363242 w 7572786"/>
              <a:gd name="connsiteY26" fmla="*/ 5114747 h 8315375"/>
              <a:gd name="connsiteX27" fmla="*/ 5922100 w 7572786"/>
              <a:gd name="connsiteY27" fmla="*/ 5978885 h 8315375"/>
              <a:gd name="connsiteX28" fmla="*/ 5707474 w 7572786"/>
              <a:gd name="connsiteY28" fmla="*/ 6089014 h 8315375"/>
              <a:gd name="connsiteX29" fmla="*/ 5551041 w 7572786"/>
              <a:gd name="connsiteY29" fmla="*/ 6038330 h 8315375"/>
              <a:gd name="connsiteX30" fmla="*/ 5492221 w 7572786"/>
              <a:gd name="connsiteY30" fmla="*/ 5666644 h 8315375"/>
              <a:gd name="connsiteX31" fmla="*/ 5857024 w 7572786"/>
              <a:gd name="connsiteY31" fmla="*/ 4951430 h 8315375"/>
              <a:gd name="connsiteX32" fmla="*/ 5982171 w 7572786"/>
              <a:gd name="connsiteY32" fmla="*/ 4157375 h 8315375"/>
              <a:gd name="connsiteX33" fmla="*/ 5857024 w 7572786"/>
              <a:gd name="connsiteY33" fmla="*/ 3363318 h 8315375"/>
              <a:gd name="connsiteX34" fmla="*/ 6027849 w 7572786"/>
              <a:gd name="connsiteY34" fmla="*/ 3027925 h 8315375"/>
              <a:gd name="connsiteX35" fmla="*/ 6132699 w 7572786"/>
              <a:gd name="connsiteY35" fmla="*/ 3015987 h 8315375"/>
              <a:gd name="connsiteX36" fmla="*/ 7139505 w 7572786"/>
              <a:gd name="connsiteY36" fmla="*/ 2689354 h 8315375"/>
              <a:gd name="connsiteX37" fmla="*/ 7370048 w 7572786"/>
              <a:gd name="connsiteY37" fmla="*/ 2872118 h 8315375"/>
              <a:gd name="connsiteX38" fmla="*/ 7572786 w 7572786"/>
              <a:gd name="connsiteY38" fmla="*/ 4157375 h 8315375"/>
              <a:gd name="connsiteX39" fmla="*/ 7370673 w 7572786"/>
              <a:gd name="connsiteY39" fmla="*/ 5442631 h 8315375"/>
              <a:gd name="connsiteX40" fmla="*/ 6779355 w 7572786"/>
              <a:gd name="connsiteY40" fmla="*/ 6601490 h 8315375"/>
              <a:gd name="connsiteX41" fmla="*/ 6564103 w 7572786"/>
              <a:gd name="connsiteY41" fmla="*/ 6710993 h 8315375"/>
              <a:gd name="connsiteX42" fmla="*/ 6407044 w 7572786"/>
              <a:gd name="connsiteY42" fmla="*/ 6660309 h 8315375"/>
              <a:gd name="connsiteX43" fmla="*/ 6348225 w 7572786"/>
              <a:gd name="connsiteY43" fmla="*/ 6288623 h 8315375"/>
              <a:gd name="connsiteX44" fmla="*/ 6863829 w 7572786"/>
              <a:gd name="connsiteY44" fmla="*/ 5278063 h 8315375"/>
              <a:gd name="connsiteX45" fmla="*/ 7040287 w 7572786"/>
              <a:gd name="connsiteY45" fmla="*/ 4157375 h 8315375"/>
              <a:gd name="connsiteX46" fmla="*/ 6863829 w 7572786"/>
              <a:gd name="connsiteY46" fmla="*/ 3036685 h 8315375"/>
              <a:gd name="connsiteX47" fmla="*/ 7034655 w 7572786"/>
              <a:gd name="connsiteY47" fmla="*/ 2701292 h 8315375"/>
              <a:gd name="connsiteX48" fmla="*/ 7139505 w 7572786"/>
              <a:gd name="connsiteY48" fmla="*/ 2689354 h 8315375"/>
              <a:gd name="connsiteX49" fmla="*/ 3414786 w 7572786"/>
              <a:gd name="connsiteY49" fmla="*/ 2121863 h 8315375"/>
              <a:gd name="connsiteX50" fmla="*/ 5450923 w 7572786"/>
              <a:gd name="connsiteY50" fmla="*/ 4157375 h 8315375"/>
              <a:gd name="connsiteX51" fmla="*/ 3414786 w 7572786"/>
              <a:gd name="connsiteY51" fmla="*/ 6192886 h 8315375"/>
              <a:gd name="connsiteX52" fmla="*/ 1379274 w 7572786"/>
              <a:gd name="connsiteY52" fmla="*/ 4157375 h 8315375"/>
              <a:gd name="connsiteX53" fmla="*/ 3414786 w 7572786"/>
              <a:gd name="connsiteY53" fmla="*/ 2121863 h 8315375"/>
              <a:gd name="connsiteX54" fmla="*/ 1739731 w 7572786"/>
              <a:gd name="connsiteY54" fmla="*/ 1598750 h 8315375"/>
              <a:gd name="connsiteX55" fmla="*/ 1964335 w 7572786"/>
              <a:gd name="connsiteY55" fmla="*/ 1708253 h 8315375"/>
              <a:gd name="connsiteX56" fmla="*/ 1905516 w 7572786"/>
              <a:gd name="connsiteY56" fmla="*/ 2079939 h 8315375"/>
              <a:gd name="connsiteX57" fmla="*/ 1336724 w 7572786"/>
              <a:gd name="connsiteY57" fmla="*/ 2648731 h 8315375"/>
              <a:gd name="connsiteX58" fmla="*/ 971922 w 7572786"/>
              <a:gd name="connsiteY58" fmla="*/ 3363944 h 8315375"/>
              <a:gd name="connsiteX59" fmla="*/ 719125 w 7572786"/>
              <a:gd name="connsiteY59" fmla="*/ 3547910 h 8315375"/>
              <a:gd name="connsiteX60" fmla="*/ 636528 w 7572786"/>
              <a:gd name="connsiteY60" fmla="*/ 3534770 h 8315375"/>
              <a:gd name="connsiteX61" fmla="*/ 465703 w 7572786"/>
              <a:gd name="connsiteY61" fmla="*/ 3199376 h 8315375"/>
              <a:gd name="connsiteX62" fmla="*/ 906845 w 7572786"/>
              <a:gd name="connsiteY62" fmla="*/ 2335238 h 8315375"/>
              <a:gd name="connsiteX63" fmla="*/ 1592649 w 7572786"/>
              <a:gd name="connsiteY63" fmla="*/ 1649434 h 8315375"/>
              <a:gd name="connsiteX64" fmla="*/ 1739731 w 7572786"/>
              <a:gd name="connsiteY64" fmla="*/ 1598750 h 8315375"/>
              <a:gd name="connsiteX65" fmla="*/ 2540636 w 7572786"/>
              <a:gd name="connsiteY65" fmla="*/ 1187017 h 8315375"/>
              <a:gd name="connsiteX66" fmla="*/ 2806573 w 7572786"/>
              <a:gd name="connsiteY66" fmla="*/ 1452954 h 8315375"/>
              <a:gd name="connsiteX67" fmla="*/ 2540636 w 7572786"/>
              <a:gd name="connsiteY67" fmla="*/ 1718890 h 8315375"/>
              <a:gd name="connsiteX68" fmla="*/ 2274699 w 7572786"/>
              <a:gd name="connsiteY68" fmla="*/ 1452954 h 8315375"/>
              <a:gd name="connsiteX69" fmla="*/ 2540636 w 7572786"/>
              <a:gd name="connsiteY69" fmla="*/ 1187017 h 8315375"/>
              <a:gd name="connsiteX70" fmla="*/ 3414786 w 7572786"/>
              <a:gd name="connsiteY70" fmla="*/ 0 h 8315375"/>
              <a:gd name="connsiteX71" fmla="*/ 4700668 w 7572786"/>
              <a:gd name="connsiteY71" fmla="*/ 202738 h 8315375"/>
              <a:gd name="connsiteX72" fmla="*/ 5859527 w 7572786"/>
              <a:gd name="connsiteY72" fmla="*/ 794056 h 8315375"/>
              <a:gd name="connsiteX73" fmla="*/ 5918346 w 7572786"/>
              <a:gd name="connsiteY73" fmla="*/ 1165742 h 8315375"/>
              <a:gd name="connsiteX74" fmla="*/ 5703093 w 7572786"/>
              <a:gd name="connsiteY74" fmla="*/ 1275245 h 8315375"/>
              <a:gd name="connsiteX75" fmla="*/ 5546034 w 7572786"/>
              <a:gd name="connsiteY75" fmla="*/ 1224561 h 8315375"/>
              <a:gd name="connsiteX76" fmla="*/ 4535475 w 7572786"/>
              <a:gd name="connsiteY76" fmla="*/ 708956 h 8315375"/>
              <a:gd name="connsiteX77" fmla="*/ 3414786 w 7572786"/>
              <a:gd name="connsiteY77" fmla="*/ 531874 h 8315375"/>
              <a:gd name="connsiteX78" fmla="*/ 2294097 w 7572786"/>
              <a:gd name="connsiteY78" fmla="*/ 708330 h 8315375"/>
              <a:gd name="connsiteX79" fmla="*/ 1283537 w 7572786"/>
              <a:gd name="connsiteY79" fmla="*/ 1223935 h 8315375"/>
              <a:gd name="connsiteX80" fmla="*/ 911851 w 7572786"/>
              <a:gd name="connsiteY80" fmla="*/ 1165116 h 8315375"/>
              <a:gd name="connsiteX81" fmla="*/ 970670 w 7572786"/>
              <a:gd name="connsiteY81" fmla="*/ 793430 h 8315375"/>
              <a:gd name="connsiteX82" fmla="*/ 2129529 w 7572786"/>
              <a:gd name="connsiteY82" fmla="*/ 201486 h 8315375"/>
              <a:gd name="connsiteX83" fmla="*/ 3414786 w 7572786"/>
              <a:gd name="connsiteY83" fmla="*/ 0 h 83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7572786" h="8315375">
                <a:moveTo>
                  <a:pt x="256743" y="6179746"/>
                </a:moveTo>
                <a:cubicBezTo>
                  <a:pt x="342121" y="6176812"/>
                  <a:pt x="427377" y="6214943"/>
                  <a:pt x="481346" y="6289249"/>
                </a:cubicBezTo>
                <a:cubicBezTo>
                  <a:pt x="705985" y="6597110"/>
                  <a:pt x="976302" y="6866801"/>
                  <a:pt x="1284163" y="7091440"/>
                </a:cubicBezTo>
                <a:cubicBezTo>
                  <a:pt x="1593275" y="7316078"/>
                  <a:pt x="1932423" y="7490032"/>
                  <a:pt x="2294723" y="7607044"/>
                </a:cubicBezTo>
                <a:cubicBezTo>
                  <a:pt x="2655771" y="7724056"/>
                  <a:pt x="3032463" y="7783501"/>
                  <a:pt x="3415411" y="7783501"/>
                </a:cubicBezTo>
                <a:cubicBezTo>
                  <a:pt x="3798360" y="7783501"/>
                  <a:pt x="4175678" y="7724056"/>
                  <a:pt x="4536101" y="7607044"/>
                </a:cubicBezTo>
                <a:cubicBezTo>
                  <a:pt x="4675639" y="7561991"/>
                  <a:pt x="4825815" y="7638330"/>
                  <a:pt x="4871494" y="7777869"/>
                </a:cubicBezTo>
                <a:cubicBezTo>
                  <a:pt x="4916547" y="7918034"/>
                  <a:pt x="4840207" y="8067584"/>
                  <a:pt x="4700668" y="8113262"/>
                </a:cubicBezTo>
                <a:cubicBezTo>
                  <a:pt x="4285807" y="8247170"/>
                  <a:pt x="3853425" y="8315375"/>
                  <a:pt x="3414786" y="8315375"/>
                </a:cubicBezTo>
                <a:cubicBezTo>
                  <a:pt x="2976147" y="8315375"/>
                  <a:pt x="2543765" y="8247170"/>
                  <a:pt x="2129529" y="8112637"/>
                </a:cubicBezTo>
                <a:cubicBezTo>
                  <a:pt x="1714667" y="7978104"/>
                  <a:pt x="1324835" y="7779120"/>
                  <a:pt x="970670" y="7521319"/>
                </a:cubicBezTo>
                <a:cubicBezTo>
                  <a:pt x="617131" y="7264768"/>
                  <a:pt x="307393" y="6955655"/>
                  <a:pt x="50842" y="6602116"/>
                </a:cubicBezTo>
                <a:cubicBezTo>
                  <a:pt x="-35509" y="6483226"/>
                  <a:pt x="-9229" y="6316781"/>
                  <a:pt x="109661" y="6230430"/>
                </a:cubicBezTo>
                <a:cubicBezTo>
                  <a:pt x="154245" y="6198049"/>
                  <a:pt x="205516" y="6181506"/>
                  <a:pt x="256743" y="6179746"/>
                </a:cubicBezTo>
                <a:close/>
                <a:moveTo>
                  <a:pt x="741378" y="4768042"/>
                </a:moveTo>
                <a:cubicBezTo>
                  <a:pt x="844624" y="4777047"/>
                  <a:pt x="937663" y="4846151"/>
                  <a:pt x="971922" y="4950805"/>
                </a:cubicBezTo>
                <a:cubicBezTo>
                  <a:pt x="1054518" y="5206730"/>
                  <a:pt x="1177788" y="5447637"/>
                  <a:pt x="1336724" y="5666018"/>
                </a:cubicBezTo>
                <a:cubicBezTo>
                  <a:pt x="1423076" y="5784908"/>
                  <a:pt x="1396795" y="5951353"/>
                  <a:pt x="1277905" y="6037704"/>
                </a:cubicBezTo>
                <a:cubicBezTo>
                  <a:pt x="1230975" y="6072745"/>
                  <a:pt x="1176537" y="6089014"/>
                  <a:pt x="1122098" y="6089014"/>
                </a:cubicBezTo>
                <a:cubicBezTo>
                  <a:pt x="1040127" y="6089014"/>
                  <a:pt x="958781" y="6051470"/>
                  <a:pt x="906845" y="5979511"/>
                </a:cubicBezTo>
                <a:cubicBezTo>
                  <a:pt x="714745" y="5715451"/>
                  <a:pt x="566446" y="5424485"/>
                  <a:pt x="465703" y="5115373"/>
                </a:cubicBezTo>
                <a:cubicBezTo>
                  <a:pt x="420650" y="4975208"/>
                  <a:pt x="496990" y="4825658"/>
                  <a:pt x="636528" y="4779980"/>
                </a:cubicBezTo>
                <a:cubicBezTo>
                  <a:pt x="671413" y="4768717"/>
                  <a:pt x="706963" y="4765041"/>
                  <a:pt x="741378" y="4768042"/>
                </a:cubicBezTo>
                <a:close/>
                <a:moveTo>
                  <a:pt x="6132699" y="3015987"/>
                </a:moveTo>
                <a:cubicBezTo>
                  <a:pt x="6235945" y="3024992"/>
                  <a:pt x="6328984" y="3094097"/>
                  <a:pt x="6363242" y="3198751"/>
                </a:cubicBezTo>
                <a:cubicBezTo>
                  <a:pt x="6463360" y="3507863"/>
                  <a:pt x="6514045" y="3830116"/>
                  <a:pt x="6514045" y="4156749"/>
                </a:cubicBezTo>
                <a:cubicBezTo>
                  <a:pt x="6514045" y="4483382"/>
                  <a:pt x="6463360" y="4806886"/>
                  <a:pt x="6363242" y="5114747"/>
                </a:cubicBezTo>
                <a:cubicBezTo>
                  <a:pt x="6263125" y="5423859"/>
                  <a:pt x="6114826" y="5714825"/>
                  <a:pt x="5922100" y="5978885"/>
                </a:cubicBezTo>
                <a:cubicBezTo>
                  <a:pt x="5870790" y="6051470"/>
                  <a:pt x="5790071" y="6089014"/>
                  <a:pt x="5707474" y="6089014"/>
                </a:cubicBezTo>
                <a:cubicBezTo>
                  <a:pt x="5653035" y="6089014"/>
                  <a:pt x="5598596" y="6072745"/>
                  <a:pt x="5551041" y="6038330"/>
                </a:cubicBezTo>
                <a:cubicBezTo>
                  <a:pt x="5432151" y="5951979"/>
                  <a:pt x="5406496" y="5785533"/>
                  <a:pt x="5492221" y="5666644"/>
                </a:cubicBezTo>
                <a:cubicBezTo>
                  <a:pt x="5651158" y="5448263"/>
                  <a:pt x="5773802" y="5207356"/>
                  <a:pt x="5857024" y="4951430"/>
                </a:cubicBezTo>
                <a:cubicBezTo>
                  <a:pt x="5940247" y="4695506"/>
                  <a:pt x="5982171" y="4428943"/>
                  <a:pt x="5982171" y="4157375"/>
                </a:cubicBezTo>
                <a:cubicBezTo>
                  <a:pt x="5982171" y="3885806"/>
                  <a:pt x="5940247" y="3618618"/>
                  <a:pt x="5857024" y="3363318"/>
                </a:cubicBezTo>
                <a:cubicBezTo>
                  <a:pt x="5811971" y="3223154"/>
                  <a:pt x="5888311" y="3073604"/>
                  <a:pt x="6027849" y="3027925"/>
                </a:cubicBezTo>
                <a:cubicBezTo>
                  <a:pt x="6062734" y="3016662"/>
                  <a:pt x="6098283" y="3012986"/>
                  <a:pt x="6132699" y="3015987"/>
                </a:cubicBezTo>
                <a:close/>
                <a:moveTo>
                  <a:pt x="7139505" y="2689354"/>
                </a:moveTo>
                <a:cubicBezTo>
                  <a:pt x="7242751" y="2698359"/>
                  <a:pt x="7335789" y="2767464"/>
                  <a:pt x="7370048" y="2872118"/>
                </a:cubicBezTo>
                <a:cubicBezTo>
                  <a:pt x="7504581" y="3286353"/>
                  <a:pt x="7572786" y="3718735"/>
                  <a:pt x="7572786" y="4157375"/>
                </a:cubicBezTo>
                <a:cubicBezTo>
                  <a:pt x="7572786" y="4596014"/>
                  <a:pt x="7505206" y="5029022"/>
                  <a:pt x="7370673" y="5442631"/>
                </a:cubicBezTo>
                <a:cubicBezTo>
                  <a:pt x="7236141" y="5858119"/>
                  <a:pt x="7037158" y="6247325"/>
                  <a:pt x="6779355" y="6601490"/>
                </a:cubicBezTo>
                <a:cubicBezTo>
                  <a:pt x="6727420" y="6673449"/>
                  <a:pt x="6646700" y="6710993"/>
                  <a:pt x="6564103" y="6710993"/>
                </a:cubicBezTo>
                <a:cubicBezTo>
                  <a:pt x="6509664" y="6710993"/>
                  <a:pt x="6455226" y="6694099"/>
                  <a:pt x="6407044" y="6660309"/>
                </a:cubicBezTo>
                <a:cubicBezTo>
                  <a:pt x="6288154" y="6573958"/>
                  <a:pt x="6262499" y="6407513"/>
                  <a:pt x="6348225" y="6288623"/>
                </a:cubicBezTo>
                <a:cubicBezTo>
                  <a:pt x="6572863" y="5979511"/>
                  <a:pt x="6746817" y="5639737"/>
                  <a:pt x="6863829" y="5278063"/>
                </a:cubicBezTo>
                <a:cubicBezTo>
                  <a:pt x="6980842" y="4917015"/>
                  <a:pt x="7040287" y="4540323"/>
                  <a:pt x="7040287" y="4157375"/>
                </a:cubicBezTo>
                <a:cubicBezTo>
                  <a:pt x="7040287" y="3774425"/>
                  <a:pt x="6980842" y="3396482"/>
                  <a:pt x="6863829" y="3036685"/>
                </a:cubicBezTo>
                <a:cubicBezTo>
                  <a:pt x="6818777" y="2896521"/>
                  <a:pt x="6895116" y="2746971"/>
                  <a:pt x="7034655" y="2701292"/>
                </a:cubicBezTo>
                <a:cubicBezTo>
                  <a:pt x="7069540" y="2690029"/>
                  <a:pt x="7105089" y="2686353"/>
                  <a:pt x="7139505" y="2689354"/>
                </a:cubicBezTo>
                <a:close/>
                <a:moveTo>
                  <a:pt x="3414786" y="2121863"/>
                </a:moveTo>
                <a:cubicBezTo>
                  <a:pt x="4538603" y="2121863"/>
                  <a:pt x="5450923" y="3033557"/>
                  <a:pt x="5450923" y="4157375"/>
                </a:cubicBezTo>
                <a:cubicBezTo>
                  <a:pt x="5450923" y="5281818"/>
                  <a:pt x="4539229" y="6192886"/>
                  <a:pt x="3414786" y="6192886"/>
                </a:cubicBezTo>
                <a:cubicBezTo>
                  <a:pt x="2290342" y="6192886"/>
                  <a:pt x="1379274" y="5281818"/>
                  <a:pt x="1379274" y="4157375"/>
                </a:cubicBezTo>
                <a:cubicBezTo>
                  <a:pt x="1379274" y="3032931"/>
                  <a:pt x="2290968" y="2121863"/>
                  <a:pt x="3414786" y="2121863"/>
                </a:cubicBezTo>
                <a:close/>
                <a:moveTo>
                  <a:pt x="1739731" y="1598750"/>
                </a:moveTo>
                <a:cubicBezTo>
                  <a:pt x="1825110" y="1595816"/>
                  <a:pt x="1910366" y="1633947"/>
                  <a:pt x="1964335" y="1708253"/>
                </a:cubicBezTo>
                <a:cubicBezTo>
                  <a:pt x="2050686" y="1827142"/>
                  <a:pt x="2024406" y="1993587"/>
                  <a:pt x="1905516" y="2079939"/>
                </a:cubicBezTo>
                <a:cubicBezTo>
                  <a:pt x="1687135" y="2238875"/>
                  <a:pt x="1495661" y="2430350"/>
                  <a:pt x="1336724" y="2648731"/>
                </a:cubicBezTo>
                <a:cubicBezTo>
                  <a:pt x="1177788" y="2867112"/>
                  <a:pt x="1055144" y="3108019"/>
                  <a:pt x="971922" y="3363944"/>
                </a:cubicBezTo>
                <a:cubicBezTo>
                  <a:pt x="935629" y="3476576"/>
                  <a:pt x="831132" y="3547910"/>
                  <a:pt x="719125" y="3547910"/>
                </a:cubicBezTo>
                <a:cubicBezTo>
                  <a:pt x="691593" y="3547910"/>
                  <a:pt x="664061" y="3543530"/>
                  <a:pt x="636528" y="3534770"/>
                </a:cubicBezTo>
                <a:cubicBezTo>
                  <a:pt x="496364" y="3489717"/>
                  <a:pt x="420025" y="3338915"/>
                  <a:pt x="465703" y="3199376"/>
                </a:cubicBezTo>
                <a:cubicBezTo>
                  <a:pt x="565821" y="2890264"/>
                  <a:pt x="714119" y="2599298"/>
                  <a:pt x="906845" y="2335238"/>
                </a:cubicBezTo>
                <a:cubicBezTo>
                  <a:pt x="1098946" y="2071178"/>
                  <a:pt x="1329216" y="1841534"/>
                  <a:pt x="1592649" y="1649434"/>
                </a:cubicBezTo>
                <a:cubicBezTo>
                  <a:pt x="1637233" y="1617053"/>
                  <a:pt x="1688504" y="1600510"/>
                  <a:pt x="1739731" y="1598750"/>
                </a:cubicBezTo>
                <a:close/>
                <a:moveTo>
                  <a:pt x="2540636" y="1187017"/>
                </a:moveTo>
                <a:cubicBezTo>
                  <a:pt x="2687683" y="1187017"/>
                  <a:pt x="2806573" y="1305906"/>
                  <a:pt x="2806573" y="1452954"/>
                </a:cubicBezTo>
                <a:cubicBezTo>
                  <a:pt x="2806573" y="1599375"/>
                  <a:pt x="2687683" y="1718890"/>
                  <a:pt x="2540636" y="1718890"/>
                </a:cubicBezTo>
                <a:cubicBezTo>
                  <a:pt x="2393588" y="1718890"/>
                  <a:pt x="2274699" y="1600001"/>
                  <a:pt x="2274699" y="1452954"/>
                </a:cubicBezTo>
                <a:cubicBezTo>
                  <a:pt x="2274699" y="1305906"/>
                  <a:pt x="2393588" y="1187017"/>
                  <a:pt x="2540636" y="1187017"/>
                </a:cubicBezTo>
                <a:close/>
                <a:moveTo>
                  <a:pt x="3414786" y="0"/>
                </a:moveTo>
                <a:cubicBezTo>
                  <a:pt x="3854051" y="0"/>
                  <a:pt x="4286433" y="68205"/>
                  <a:pt x="4700668" y="202738"/>
                </a:cubicBezTo>
                <a:cubicBezTo>
                  <a:pt x="5115530" y="337270"/>
                  <a:pt x="5505362" y="536254"/>
                  <a:pt x="5859527" y="794056"/>
                </a:cubicBezTo>
                <a:cubicBezTo>
                  <a:pt x="5978416" y="880407"/>
                  <a:pt x="6004072" y="1046852"/>
                  <a:pt x="5918346" y="1165742"/>
                </a:cubicBezTo>
                <a:cubicBezTo>
                  <a:pt x="5866410" y="1237701"/>
                  <a:pt x="5785691" y="1275245"/>
                  <a:pt x="5703093" y="1275245"/>
                </a:cubicBezTo>
                <a:cubicBezTo>
                  <a:pt x="5648029" y="1275245"/>
                  <a:pt x="5593590" y="1258350"/>
                  <a:pt x="5546034" y="1224561"/>
                </a:cubicBezTo>
                <a:cubicBezTo>
                  <a:pt x="5236922" y="999922"/>
                  <a:pt x="4897775" y="825968"/>
                  <a:pt x="4535475" y="708956"/>
                </a:cubicBezTo>
                <a:cubicBezTo>
                  <a:pt x="4175052" y="591318"/>
                  <a:pt x="3797735" y="531874"/>
                  <a:pt x="3414786" y="531874"/>
                </a:cubicBezTo>
                <a:cubicBezTo>
                  <a:pt x="3031837" y="531874"/>
                  <a:pt x="2654519" y="591318"/>
                  <a:pt x="2294097" y="708330"/>
                </a:cubicBezTo>
                <a:cubicBezTo>
                  <a:pt x="1932423" y="825968"/>
                  <a:pt x="1592024" y="999297"/>
                  <a:pt x="1283537" y="1223935"/>
                </a:cubicBezTo>
                <a:cubicBezTo>
                  <a:pt x="1164648" y="1310286"/>
                  <a:pt x="998202" y="1284005"/>
                  <a:pt x="911851" y="1165116"/>
                </a:cubicBezTo>
                <a:cubicBezTo>
                  <a:pt x="825500" y="1046227"/>
                  <a:pt x="851781" y="879782"/>
                  <a:pt x="970670" y="793430"/>
                </a:cubicBezTo>
                <a:cubicBezTo>
                  <a:pt x="1324835" y="535002"/>
                  <a:pt x="1715293" y="336645"/>
                  <a:pt x="2129529" y="201486"/>
                </a:cubicBezTo>
                <a:cubicBezTo>
                  <a:pt x="2543765" y="68205"/>
                  <a:pt x="2975521" y="0"/>
                  <a:pt x="3414786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b="1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81" y="2798362"/>
            <a:ext cx="3620656" cy="687997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tx2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633374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tx1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9141512" y="329115"/>
            <a:ext cx="2198088" cy="1072507"/>
          </a:xfrm>
          <a:custGeom>
            <a:avLst/>
            <a:gdLst>
              <a:gd name="connsiteX0" fmla="*/ 1931640 w 2198088"/>
              <a:gd name="connsiteY0" fmla="*/ 1072507 h 1072507"/>
              <a:gd name="connsiteX1" fmla="*/ 1775206 w 2198088"/>
              <a:gd name="connsiteY1" fmla="*/ 1021823 h 1072507"/>
              <a:gd name="connsiteX2" fmla="*/ 1059993 w 2198088"/>
              <a:gd name="connsiteY2" fmla="*/ 657020 h 1072507"/>
              <a:gd name="connsiteX3" fmla="*/ 265937 w 2198088"/>
              <a:gd name="connsiteY3" fmla="*/ 531874 h 1072507"/>
              <a:gd name="connsiteX4" fmla="*/ 0 w 2198088"/>
              <a:gd name="connsiteY4" fmla="*/ 265937 h 1072507"/>
              <a:gd name="connsiteX5" fmla="*/ 265937 w 2198088"/>
              <a:gd name="connsiteY5" fmla="*/ 0 h 1072507"/>
              <a:gd name="connsiteX6" fmla="*/ 1223935 w 2198088"/>
              <a:gd name="connsiteY6" fmla="*/ 150802 h 1072507"/>
              <a:gd name="connsiteX7" fmla="*/ 2088699 w 2198088"/>
              <a:gd name="connsiteY7" fmla="*/ 591944 h 1072507"/>
              <a:gd name="connsiteX8" fmla="*/ 2147518 w 2198088"/>
              <a:gd name="connsiteY8" fmla="*/ 963630 h 1072507"/>
              <a:gd name="connsiteX9" fmla="*/ 1931640 w 2198088"/>
              <a:gd name="connsiteY9" fmla="*/ 1072507 h 1072507"/>
              <a:gd name="connsiteX10" fmla="*/ 1931640 w 2198088"/>
              <a:gd name="connsiteY10" fmla="*/ 1072507 h 107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8088" h="1072507">
                <a:moveTo>
                  <a:pt x="1931640" y="1072507"/>
                </a:moveTo>
                <a:cubicBezTo>
                  <a:pt x="1877201" y="1072507"/>
                  <a:pt x="1822762" y="1055613"/>
                  <a:pt x="1775206" y="1021823"/>
                </a:cubicBezTo>
                <a:cubicBezTo>
                  <a:pt x="1556826" y="862887"/>
                  <a:pt x="1315918" y="739617"/>
                  <a:pt x="1059993" y="657020"/>
                </a:cubicBezTo>
                <a:cubicBezTo>
                  <a:pt x="804694" y="574423"/>
                  <a:pt x="537505" y="531874"/>
                  <a:pt x="265937" y="531874"/>
                </a:cubicBezTo>
                <a:cubicBezTo>
                  <a:pt x="119515" y="531874"/>
                  <a:pt x="0" y="412358"/>
                  <a:pt x="0" y="265937"/>
                </a:cubicBezTo>
                <a:cubicBezTo>
                  <a:pt x="0" y="119515"/>
                  <a:pt x="119515" y="0"/>
                  <a:pt x="265937" y="0"/>
                </a:cubicBezTo>
                <a:cubicBezTo>
                  <a:pt x="593196" y="0"/>
                  <a:pt x="915449" y="50684"/>
                  <a:pt x="1223935" y="150802"/>
                </a:cubicBezTo>
                <a:cubicBezTo>
                  <a:pt x="1533047" y="250919"/>
                  <a:pt x="1824014" y="399218"/>
                  <a:pt x="2088699" y="591944"/>
                </a:cubicBezTo>
                <a:cubicBezTo>
                  <a:pt x="2207589" y="678295"/>
                  <a:pt x="2233244" y="844740"/>
                  <a:pt x="2147518" y="963630"/>
                </a:cubicBezTo>
                <a:cubicBezTo>
                  <a:pt x="2094956" y="1034963"/>
                  <a:pt x="2013611" y="1072507"/>
                  <a:pt x="1931640" y="1072507"/>
                </a:cubicBezTo>
                <a:lnTo>
                  <a:pt x="1931640" y="1072507"/>
                </a:lnTo>
                <a:close/>
              </a:path>
            </a:pathLst>
          </a:custGeom>
          <a:noFill/>
          <a:ln w="15875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7474671" y="5455239"/>
            <a:ext cx="2197472" cy="1073019"/>
          </a:xfrm>
          <a:custGeom>
            <a:avLst/>
            <a:gdLst>
              <a:gd name="connsiteX0" fmla="*/ 1932152 w 2197472"/>
              <a:gd name="connsiteY0" fmla="*/ 1073020 h 1073019"/>
              <a:gd name="connsiteX1" fmla="*/ 974154 w 2197472"/>
              <a:gd name="connsiteY1" fmla="*/ 922218 h 1073019"/>
              <a:gd name="connsiteX2" fmla="*/ 109390 w 2197472"/>
              <a:gd name="connsiteY2" fmla="*/ 481075 h 1073019"/>
              <a:gd name="connsiteX3" fmla="*/ 50571 w 2197472"/>
              <a:gd name="connsiteY3" fmla="*/ 109390 h 1073019"/>
              <a:gd name="connsiteX4" fmla="*/ 422257 w 2197472"/>
              <a:gd name="connsiteY4" fmla="*/ 50571 h 1073019"/>
              <a:gd name="connsiteX5" fmla="*/ 1137470 w 2197472"/>
              <a:gd name="connsiteY5" fmla="*/ 415373 h 1073019"/>
              <a:gd name="connsiteX6" fmla="*/ 1931526 w 2197472"/>
              <a:gd name="connsiteY6" fmla="*/ 540520 h 1073019"/>
              <a:gd name="connsiteX7" fmla="*/ 2197463 w 2197472"/>
              <a:gd name="connsiteY7" fmla="*/ 806457 h 1073019"/>
              <a:gd name="connsiteX8" fmla="*/ 1932152 w 2197472"/>
              <a:gd name="connsiteY8" fmla="*/ 1073020 h 1073019"/>
              <a:gd name="connsiteX9" fmla="*/ 1932152 w 2197472"/>
              <a:gd name="connsiteY9" fmla="*/ 1073020 h 1073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97472" h="1073019">
                <a:moveTo>
                  <a:pt x="1932152" y="1073020"/>
                </a:moveTo>
                <a:cubicBezTo>
                  <a:pt x="1604893" y="1073020"/>
                  <a:pt x="1282641" y="1022335"/>
                  <a:pt x="974154" y="922218"/>
                </a:cubicBezTo>
                <a:cubicBezTo>
                  <a:pt x="665041" y="822100"/>
                  <a:pt x="374075" y="673802"/>
                  <a:pt x="109390" y="481075"/>
                </a:cubicBezTo>
                <a:cubicBezTo>
                  <a:pt x="-9499" y="394725"/>
                  <a:pt x="-35155" y="228280"/>
                  <a:pt x="50571" y="109390"/>
                </a:cubicBezTo>
                <a:cubicBezTo>
                  <a:pt x="136922" y="-9500"/>
                  <a:pt x="303367" y="-35155"/>
                  <a:pt x="422257" y="50571"/>
                </a:cubicBezTo>
                <a:cubicBezTo>
                  <a:pt x="640638" y="209507"/>
                  <a:pt x="881545" y="332777"/>
                  <a:pt x="1137470" y="415373"/>
                </a:cubicBezTo>
                <a:cubicBezTo>
                  <a:pt x="1392769" y="497971"/>
                  <a:pt x="1659958" y="540520"/>
                  <a:pt x="1931526" y="540520"/>
                </a:cubicBezTo>
                <a:cubicBezTo>
                  <a:pt x="2077948" y="540520"/>
                  <a:pt x="2197463" y="660036"/>
                  <a:pt x="2197463" y="806457"/>
                </a:cubicBezTo>
                <a:cubicBezTo>
                  <a:pt x="2198714" y="952879"/>
                  <a:pt x="2079199" y="1073020"/>
                  <a:pt x="1932152" y="1073020"/>
                </a:cubicBezTo>
                <a:lnTo>
                  <a:pt x="1932152" y="1073020"/>
                </a:ln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5248823" y="1959115"/>
            <a:ext cx="721507" cy="2938481"/>
          </a:xfrm>
          <a:custGeom>
            <a:avLst/>
            <a:gdLst>
              <a:gd name="connsiteX0" fmla="*/ 455534 w 721507"/>
              <a:gd name="connsiteY0" fmla="*/ 2938482 h 2938481"/>
              <a:gd name="connsiteX1" fmla="*/ 202738 w 721507"/>
              <a:gd name="connsiteY1" fmla="*/ 2754516 h 2938481"/>
              <a:gd name="connsiteX2" fmla="*/ 0 w 721507"/>
              <a:gd name="connsiteY2" fmla="*/ 1469259 h 2938481"/>
              <a:gd name="connsiteX3" fmla="*/ 202112 w 721507"/>
              <a:gd name="connsiteY3" fmla="*/ 184002 h 2938481"/>
              <a:gd name="connsiteX4" fmla="*/ 537505 w 721507"/>
              <a:gd name="connsiteY4" fmla="*/ 13177 h 2938481"/>
              <a:gd name="connsiteX5" fmla="*/ 708330 w 721507"/>
              <a:gd name="connsiteY5" fmla="*/ 348570 h 2938481"/>
              <a:gd name="connsiteX6" fmla="*/ 531874 w 721507"/>
              <a:gd name="connsiteY6" fmla="*/ 1469259 h 2938481"/>
              <a:gd name="connsiteX7" fmla="*/ 708330 w 721507"/>
              <a:gd name="connsiteY7" fmla="*/ 2589948 h 2938481"/>
              <a:gd name="connsiteX8" fmla="*/ 537505 w 721507"/>
              <a:gd name="connsiteY8" fmla="*/ 2925341 h 2938481"/>
              <a:gd name="connsiteX9" fmla="*/ 455534 w 721507"/>
              <a:gd name="connsiteY9" fmla="*/ 2938482 h 2938481"/>
              <a:gd name="connsiteX10" fmla="*/ 455534 w 721507"/>
              <a:gd name="connsiteY10" fmla="*/ 2938482 h 2938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21507" h="2938481">
                <a:moveTo>
                  <a:pt x="455534" y="2938482"/>
                </a:moveTo>
                <a:cubicBezTo>
                  <a:pt x="343528" y="2938482"/>
                  <a:pt x="239030" y="2866522"/>
                  <a:pt x="202738" y="2754516"/>
                </a:cubicBezTo>
                <a:cubicBezTo>
                  <a:pt x="68205" y="2340906"/>
                  <a:pt x="0" y="1907898"/>
                  <a:pt x="0" y="1469259"/>
                </a:cubicBezTo>
                <a:cubicBezTo>
                  <a:pt x="0" y="1030620"/>
                  <a:pt x="68205" y="598238"/>
                  <a:pt x="202112" y="184002"/>
                </a:cubicBezTo>
                <a:cubicBezTo>
                  <a:pt x="247165" y="44464"/>
                  <a:pt x="397967" y="-32502"/>
                  <a:pt x="537505" y="13177"/>
                </a:cubicBezTo>
                <a:cubicBezTo>
                  <a:pt x="677044" y="58230"/>
                  <a:pt x="754009" y="208406"/>
                  <a:pt x="708330" y="348570"/>
                </a:cubicBezTo>
                <a:cubicBezTo>
                  <a:pt x="591318" y="708993"/>
                  <a:pt x="531874" y="1086310"/>
                  <a:pt x="531874" y="1469259"/>
                </a:cubicBezTo>
                <a:cubicBezTo>
                  <a:pt x="531874" y="1852208"/>
                  <a:pt x="591318" y="2230151"/>
                  <a:pt x="708330" y="2589948"/>
                </a:cubicBezTo>
                <a:cubicBezTo>
                  <a:pt x="753383" y="2729487"/>
                  <a:pt x="677670" y="2879663"/>
                  <a:pt x="537505" y="2925341"/>
                </a:cubicBezTo>
                <a:cubicBezTo>
                  <a:pt x="510599" y="2934727"/>
                  <a:pt x="482441" y="2938482"/>
                  <a:pt x="455534" y="2938482"/>
                </a:cubicBezTo>
                <a:lnTo>
                  <a:pt x="455534" y="2938482"/>
                </a:ln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6306939" y="3162437"/>
            <a:ext cx="531873" cy="531873"/>
          </a:xfrm>
          <a:custGeom>
            <a:avLst/>
            <a:gdLst>
              <a:gd name="connsiteX0" fmla="*/ 531874 w 531873"/>
              <a:gd name="connsiteY0" fmla="*/ 265937 h 531873"/>
              <a:gd name="connsiteX1" fmla="*/ 265937 w 531873"/>
              <a:gd name="connsiteY1" fmla="*/ 531874 h 531873"/>
              <a:gd name="connsiteX2" fmla="*/ 0 w 531873"/>
              <a:gd name="connsiteY2" fmla="*/ 265937 h 531873"/>
              <a:gd name="connsiteX3" fmla="*/ 265937 w 531873"/>
              <a:gd name="connsiteY3" fmla="*/ 0 h 531873"/>
              <a:gd name="connsiteX4" fmla="*/ 531874 w 531873"/>
              <a:gd name="connsiteY4" fmla="*/ 265937 h 531873"/>
              <a:gd name="connsiteX5" fmla="*/ 531874 w 531873"/>
              <a:gd name="connsiteY5" fmla="*/ 265937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873" h="531873">
                <a:moveTo>
                  <a:pt x="531874" y="265937"/>
                </a:moveTo>
                <a:cubicBezTo>
                  <a:pt x="531874" y="412984"/>
                  <a:pt x="412984" y="531874"/>
                  <a:pt x="265937" y="531874"/>
                </a:cubicBezTo>
                <a:cubicBezTo>
                  <a:pt x="118889" y="531874"/>
                  <a:pt x="0" y="412984"/>
                  <a:pt x="0" y="265937"/>
                </a:cubicBezTo>
                <a:cubicBezTo>
                  <a:pt x="0" y="118889"/>
                  <a:pt x="118889" y="0"/>
                  <a:pt x="265937" y="0"/>
                </a:cubicBezTo>
                <a:cubicBezTo>
                  <a:pt x="412984" y="0"/>
                  <a:pt x="531874" y="119515"/>
                  <a:pt x="531874" y="265937"/>
                </a:cubicBezTo>
                <a:lnTo>
                  <a:pt x="531874" y="265937"/>
                </a:lnTo>
                <a:close/>
              </a:path>
            </a:pathLst>
          </a:custGeom>
          <a:noFill/>
          <a:ln w="15875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11434200" y="1497360"/>
            <a:ext cx="531873" cy="531873"/>
          </a:xfrm>
          <a:custGeom>
            <a:avLst/>
            <a:gdLst>
              <a:gd name="connsiteX0" fmla="*/ 531874 w 531873"/>
              <a:gd name="connsiteY0" fmla="*/ 265937 h 531873"/>
              <a:gd name="connsiteX1" fmla="*/ 265937 w 531873"/>
              <a:gd name="connsiteY1" fmla="*/ 531874 h 531873"/>
              <a:gd name="connsiteX2" fmla="*/ 0 w 531873"/>
              <a:gd name="connsiteY2" fmla="*/ 265937 h 531873"/>
              <a:gd name="connsiteX3" fmla="*/ 265937 w 531873"/>
              <a:gd name="connsiteY3" fmla="*/ 0 h 531873"/>
              <a:gd name="connsiteX4" fmla="*/ 531874 w 531873"/>
              <a:gd name="connsiteY4" fmla="*/ 265937 h 531873"/>
              <a:gd name="connsiteX5" fmla="*/ 531874 w 531873"/>
              <a:gd name="connsiteY5" fmla="*/ 265937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873" h="531873">
                <a:moveTo>
                  <a:pt x="531874" y="265937"/>
                </a:moveTo>
                <a:cubicBezTo>
                  <a:pt x="531874" y="412984"/>
                  <a:pt x="412984" y="531874"/>
                  <a:pt x="265937" y="531874"/>
                </a:cubicBezTo>
                <a:cubicBezTo>
                  <a:pt x="118889" y="531874"/>
                  <a:pt x="0" y="412984"/>
                  <a:pt x="0" y="265937"/>
                </a:cubicBezTo>
                <a:cubicBezTo>
                  <a:pt x="0" y="118889"/>
                  <a:pt x="118889" y="0"/>
                  <a:pt x="265937" y="0"/>
                </a:cubicBezTo>
                <a:cubicBezTo>
                  <a:pt x="412359" y="0"/>
                  <a:pt x="531874" y="118889"/>
                  <a:pt x="531874" y="265937"/>
                </a:cubicBezTo>
                <a:lnTo>
                  <a:pt x="531874" y="265937"/>
                </a:ln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5992195" y="875381"/>
            <a:ext cx="531873" cy="531873"/>
          </a:xfrm>
          <a:custGeom>
            <a:avLst/>
            <a:gdLst>
              <a:gd name="connsiteX0" fmla="*/ 531874 w 531873"/>
              <a:gd name="connsiteY0" fmla="*/ 265937 h 531873"/>
              <a:gd name="connsiteX1" fmla="*/ 265937 w 531873"/>
              <a:gd name="connsiteY1" fmla="*/ 531874 h 531873"/>
              <a:gd name="connsiteX2" fmla="*/ 0 w 531873"/>
              <a:gd name="connsiteY2" fmla="*/ 265937 h 531873"/>
              <a:gd name="connsiteX3" fmla="*/ 265937 w 531873"/>
              <a:gd name="connsiteY3" fmla="*/ 0 h 531873"/>
              <a:gd name="connsiteX4" fmla="*/ 531874 w 531873"/>
              <a:gd name="connsiteY4" fmla="*/ 265937 h 531873"/>
              <a:gd name="connsiteX5" fmla="*/ 531874 w 531873"/>
              <a:gd name="connsiteY5" fmla="*/ 265937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873" h="531873">
                <a:moveTo>
                  <a:pt x="531874" y="265937"/>
                </a:moveTo>
                <a:cubicBezTo>
                  <a:pt x="531874" y="412984"/>
                  <a:pt x="412984" y="531874"/>
                  <a:pt x="265937" y="531874"/>
                </a:cubicBezTo>
                <a:cubicBezTo>
                  <a:pt x="118889" y="531874"/>
                  <a:pt x="0" y="412984"/>
                  <a:pt x="0" y="265937"/>
                </a:cubicBezTo>
                <a:cubicBezTo>
                  <a:pt x="0" y="118889"/>
                  <a:pt x="118889" y="0"/>
                  <a:pt x="265937" y="0"/>
                </a:cubicBezTo>
                <a:cubicBezTo>
                  <a:pt x="412984" y="0"/>
                  <a:pt x="531874" y="118889"/>
                  <a:pt x="531874" y="265937"/>
                </a:cubicBezTo>
                <a:lnTo>
                  <a:pt x="531874" y="265937"/>
                </a:lnTo>
                <a:close/>
              </a:path>
            </a:pathLst>
          </a:custGeom>
          <a:noFill/>
          <a:ln w="15875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79767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- Color -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35FC7712-7035-489F-B2F6-87B8095438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92037" y="-729000"/>
            <a:ext cx="7572786" cy="8315375"/>
          </a:xfrm>
          <a:custGeom>
            <a:avLst/>
            <a:gdLst>
              <a:gd name="connsiteX0" fmla="*/ 256743 w 7572786"/>
              <a:gd name="connsiteY0" fmla="*/ 6179746 h 8315375"/>
              <a:gd name="connsiteX1" fmla="*/ 481346 w 7572786"/>
              <a:gd name="connsiteY1" fmla="*/ 6289249 h 8315375"/>
              <a:gd name="connsiteX2" fmla="*/ 1284163 w 7572786"/>
              <a:gd name="connsiteY2" fmla="*/ 7091440 h 8315375"/>
              <a:gd name="connsiteX3" fmla="*/ 2294723 w 7572786"/>
              <a:gd name="connsiteY3" fmla="*/ 7607044 h 8315375"/>
              <a:gd name="connsiteX4" fmla="*/ 3415411 w 7572786"/>
              <a:gd name="connsiteY4" fmla="*/ 7783501 h 8315375"/>
              <a:gd name="connsiteX5" fmla="*/ 4536101 w 7572786"/>
              <a:gd name="connsiteY5" fmla="*/ 7607044 h 8315375"/>
              <a:gd name="connsiteX6" fmla="*/ 4871494 w 7572786"/>
              <a:gd name="connsiteY6" fmla="*/ 7777869 h 8315375"/>
              <a:gd name="connsiteX7" fmla="*/ 4700668 w 7572786"/>
              <a:gd name="connsiteY7" fmla="*/ 8113262 h 8315375"/>
              <a:gd name="connsiteX8" fmla="*/ 3414786 w 7572786"/>
              <a:gd name="connsiteY8" fmla="*/ 8315375 h 8315375"/>
              <a:gd name="connsiteX9" fmla="*/ 2129529 w 7572786"/>
              <a:gd name="connsiteY9" fmla="*/ 8112637 h 8315375"/>
              <a:gd name="connsiteX10" fmla="*/ 970670 w 7572786"/>
              <a:gd name="connsiteY10" fmla="*/ 7521319 h 8315375"/>
              <a:gd name="connsiteX11" fmla="*/ 50842 w 7572786"/>
              <a:gd name="connsiteY11" fmla="*/ 6602116 h 8315375"/>
              <a:gd name="connsiteX12" fmla="*/ 109661 w 7572786"/>
              <a:gd name="connsiteY12" fmla="*/ 6230430 h 8315375"/>
              <a:gd name="connsiteX13" fmla="*/ 256743 w 7572786"/>
              <a:gd name="connsiteY13" fmla="*/ 6179746 h 8315375"/>
              <a:gd name="connsiteX14" fmla="*/ 741378 w 7572786"/>
              <a:gd name="connsiteY14" fmla="*/ 4768042 h 8315375"/>
              <a:gd name="connsiteX15" fmla="*/ 971922 w 7572786"/>
              <a:gd name="connsiteY15" fmla="*/ 4950805 h 8315375"/>
              <a:gd name="connsiteX16" fmla="*/ 1336724 w 7572786"/>
              <a:gd name="connsiteY16" fmla="*/ 5666018 h 8315375"/>
              <a:gd name="connsiteX17" fmla="*/ 1277905 w 7572786"/>
              <a:gd name="connsiteY17" fmla="*/ 6037704 h 8315375"/>
              <a:gd name="connsiteX18" fmla="*/ 1122098 w 7572786"/>
              <a:gd name="connsiteY18" fmla="*/ 6089014 h 8315375"/>
              <a:gd name="connsiteX19" fmla="*/ 906845 w 7572786"/>
              <a:gd name="connsiteY19" fmla="*/ 5979511 h 8315375"/>
              <a:gd name="connsiteX20" fmla="*/ 465703 w 7572786"/>
              <a:gd name="connsiteY20" fmla="*/ 5115373 h 8315375"/>
              <a:gd name="connsiteX21" fmla="*/ 636528 w 7572786"/>
              <a:gd name="connsiteY21" fmla="*/ 4779980 h 8315375"/>
              <a:gd name="connsiteX22" fmla="*/ 741378 w 7572786"/>
              <a:gd name="connsiteY22" fmla="*/ 4768042 h 8315375"/>
              <a:gd name="connsiteX23" fmla="*/ 6132699 w 7572786"/>
              <a:gd name="connsiteY23" fmla="*/ 3015987 h 8315375"/>
              <a:gd name="connsiteX24" fmla="*/ 6363242 w 7572786"/>
              <a:gd name="connsiteY24" fmla="*/ 3198751 h 8315375"/>
              <a:gd name="connsiteX25" fmla="*/ 6514045 w 7572786"/>
              <a:gd name="connsiteY25" fmla="*/ 4156749 h 8315375"/>
              <a:gd name="connsiteX26" fmla="*/ 6363242 w 7572786"/>
              <a:gd name="connsiteY26" fmla="*/ 5114747 h 8315375"/>
              <a:gd name="connsiteX27" fmla="*/ 5922100 w 7572786"/>
              <a:gd name="connsiteY27" fmla="*/ 5978885 h 8315375"/>
              <a:gd name="connsiteX28" fmla="*/ 5707474 w 7572786"/>
              <a:gd name="connsiteY28" fmla="*/ 6089014 h 8315375"/>
              <a:gd name="connsiteX29" fmla="*/ 5551041 w 7572786"/>
              <a:gd name="connsiteY29" fmla="*/ 6038330 h 8315375"/>
              <a:gd name="connsiteX30" fmla="*/ 5492221 w 7572786"/>
              <a:gd name="connsiteY30" fmla="*/ 5666644 h 8315375"/>
              <a:gd name="connsiteX31" fmla="*/ 5857024 w 7572786"/>
              <a:gd name="connsiteY31" fmla="*/ 4951430 h 8315375"/>
              <a:gd name="connsiteX32" fmla="*/ 5982171 w 7572786"/>
              <a:gd name="connsiteY32" fmla="*/ 4157375 h 8315375"/>
              <a:gd name="connsiteX33" fmla="*/ 5857024 w 7572786"/>
              <a:gd name="connsiteY33" fmla="*/ 3363318 h 8315375"/>
              <a:gd name="connsiteX34" fmla="*/ 6027849 w 7572786"/>
              <a:gd name="connsiteY34" fmla="*/ 3027925 h 8315375"/>
              <a:gd name="connsiteX35" fmla="*/ 6132699 w 7572786"/>
              <a:gd name="connsiteY35" fmla="*/ 3015987 h 8315375"/>
              <a:gd name="connsiteX36" fmla="*/ 7139505 w 7572786"/>
              <a:gd name="connsiteY36" fmla="*/ 2689354 h 8315375"/>
              <a:gd name="connsiteX37" fmla="*/ 7370048 w 7572786"/>
              <a:gd name="connsiteY37" fmla="*/ 2872118 h 8315375"/>
              <a:gd name="connsiteX38" fmla="*/ 7572786 w 7572786"/>
              <a:gd name="connsiteY38" fmla="*/ 4157375 h 8315375"/>
              <a:gd name="connsiteX39" fmla="*/ 7370673 w 7572786"/>
              <a:gd name="connsiteY39" fmla="*/ 5442631 h 8315375"/>
              <a:gd name="connsiteX40" fmla="*/ 6779355 w 7572786"/>
              <a:gd name="connsiteY40" fmla="*/ 6601490 h 8315375"/>
              <a:gd name="connsiteX41" fmla="*/ 6564103 w 7572786"/>
              <a:gd name="connsiteY41" fmla="*/ 6710993 h 8315375"/>
              <a:gd name="connsiteX42" fmla="*/ 6407044 w 7572786"/>
              <a:gd name="connsiteY42" fmla="*/ 6660309 h 8315375"/>
              <a:gd name="connsiteX43" fmla="*/ 6348225 w 7572786"/>
              <a:gd name="connsiteY43" fmla="*/ 6288623 h 8315375"/>
              <a:gd name="connsiteX44" fmla="*/ 6863829 w 7572786"/>
              <a:gd name="connsiteY44" fmla="*/ 5278063 h 8315375"/>
              <a:gd name="connsiteX45" fmla="*/ 7040287 w 7572786"/>
              <a:gd name="connsiteY45" fmla="*/ 4157375 h 8315375"/>
              <a:gd name="connsiteX46" fmla="*/ 6863829 w 7572786"/>
              <a:gd name="connsiteY46" fmla="*/ 3036685 h 8315375"/>
              <a:gd name="connsiteX47" fmla="*/ 7034655 w 7572786"/>
              <a:gd name="connsiteY47" fmla="*/ 2701292 h 8315375"/>
              <a:gd name="connsiteX48" fmla="*/ 7139505 w 7572786"/>
              <a:gd name="connsiteY48" fmla="*/ 2689354 h 8315375"/>
              <a:gd name="connsiteX49" fmla="*/ 3414786 w 7572786"/>
              <a:gd name="connsiteY49" fmla="*/ 2121863 h 8315375"/>
              <a:gd name="connsiteX50" fmla="*/ 5450923 w 7572786"/>
              <a:gd name="connsiteY50" fmla="*/ 4157375 h 8315375"/>
              <a:gd name="connsiteX51" fmla="*/ 3414786 w 7572786"/>
              <a:gd name="connsiteY51" fmla="*/ 6192886 h 8315375"/>
              <a:gd name="connsiteX52" fmla="*/ 1379274 w 7572786"/>
              <a:gd name="connsiteY52" fmla="*/ 4157375 h 8315375"/>
              <a:gd name="connsiteX53" fmla="*/ 3414786 w 7572786"/>
              <a:gd name="connsiteY53" fmla="*/ 2121863 h 8315375"/>
              <a:gd name="connsiteX54" fmla="*/ 1739731 w 7572786"/>
              <a:gd name="connsiteY54" fmla="*/ 1598750 h 8315375"/>
              <a:gd name="connsiteX55" fmla="*/ 1964335 w 7572786"/>
              <a:gd name="connsiteY55" fmla="*/ 1708253 h 8315375"/>
              <a:gd name="connsiteX56" fmla="*/ 1905516 w 7572786"/>
              <a:gd name="connsiteY56" fmla="*/ 2079939 h 8315375"/>
              <a:gd name="connsiteX57" fmla="*/ 1336724 w 7572786"/>
              <a:gd name="connsiteY57" fmla="*/ 2648731 h 8315375"/>
              <a:gd name="connsiteX58" fmla="*/ 971922 w 7572786"/>
              <a:gd name="connsiteY58" fmla="*/ 3363944 h 8315375"/>
              <a:gd name="connsiteX59" fmla="*/ 719125 w 7572786"/>
              <a:gd name="connsiteY59" fmla="*/ 3547910 h 8315375"/>
              <a:gd name="connsiteX60" fmla="*/ 636528 w 7572786"/>
              <a:gd name="connsiteY60" fmla="*/ 3534770 h 8315375"/>
              <a:gd name="connsiteX61" fmla="*/ 465703 w 7572786"/>
              <a:gd name="connsiteY61" fmla="*/ 3199376 h 8315375"/>
              <a:gd name="connsiteX62" fmla="*/ 906845 w 7572786"/>
              <a:gd name="connsiteY62" fmla="*/ 2335238 h 8315375"/>
              <a:gd name="connsiteX63" fmla="*/ 1592649 w 7572786"/>
              <a:gd name="connsiteY63" fmla="*/ 1649434 h 8315375"/>
              <a:gd name="connsiteX64" fmla="*/ 1739731 w 7572786"/>
              <a:gd name="connsiteY64" fmla="*/ 1598750 h 8315375"/>
              <a:gd name="connsiteX65" fmla="*/ 2540636 w 7572786"/>
              <a:gd name="connsiteY65" fmla="*/ 1187017 h 8315375"/>
              <a:gd name="connsiteX66" fmla="*/ 2806573 w 7572786"/>
              <a:gd name="connsiteY66" fmla="*/ 1452954 h 8315375"/>
              <a:gd name="connsiteX67" fmla="*/ 2540636 w 7572786"/>
              <a:gd name="connsiteY67" fmla="*/ 1718890 h 8315375"/>
              <a:gd name="connsiteX68" fmla="*/ 2274699 w 7572786"/>
              <a:gd name="connsiteY68" fmla="*/ 1452954 h 8315375"/>
              <a:gd name="connsiteX69" fmla="*/ 2540636 w 7572786"/>
              <a:gd name="connsiteY69" fmla="*/ 1187017 h 8315375"/>
              <a:gd name="connsiteX70" fmla="*/ 3414786 w 7572786"/>
              <a:gd name="connsiteY70" fmla="*/ 0 h 8315375"/>
              <a:gd name="connsiteX71" fmla="*/ 4700668 w 7572786"/>
              <a:gd name="connsiteY71" fmla="*/ 202738 h 8315375"/>
              <a:gd name="connsiteX72" fmla="*/ 5859527 w 7572786"/>
              <a:gd name="connsiteY72" fmla="*/ 794056 h 8315375"/>
              <a:gd name="connsiteX73" fmla="*/ 5918346 w 7572786"/>
              <a:gd name="connsiteY73" fmla="*/ 1165742 h 8315375"/>
              <a:gd name="connsiteX74" fmla="*/ 5703093 w 7572786"/>
              <a:gd name="connsiteY74" fmla="*/ 1275245 h 8315375"/>
              <a:gd name="connsiteX75" fmla="*/ 5546034 w 7572786"/>
              <a:gd name="connsiteY75" fmla="*/ 1224561 h 8315375"/>
              <a:gd name="connsiteX76" fmla="*/ 4535475 w 7572786"/>
              <a:gd name="connsiteY76" fmla="*/ 708956 h 8315375"/>
              <a:gd name="connsiteX77" fmla="*/ 3414786 w 7572786"/>
              <a:gd name="connsiteY77" fmla="*/ 531874 h 8315375"/>
              <a:gd name="connsiteX78" fmla="*/ 2294097 w 7572786"/>
              <a:gd name="connsiteY78" fmla="*/ 708330 h 8315375"/>
              <a:gd name="connsiteX79" fmla="*/ 1283537 w 7572786"/>
              <a:gd name="connsiteY79" fmla="*/ 1223935 h 8315375"/>
              <a:gd name="connsiteX80" fmla="*/ 911851 w 7572786"/>
              <a:gd name="connsiteY80" fmla="*/ 1165116 h 8315375"/>
              <a:gd name="connsiteX81" fmla="*/ 970670 w 7572786"/>
              <a:gd name="connsiteY81" fmla="*/ 793430 h 8315375"/>
              <a:gd name="connsiteX82" fmla="*/ 2129529 w 7572786"/>
              <a:gd name="connsiteY82" fmla="*/ 201486 h 8315375"/>
              <a:gd name="connsiteX83" fmla="*/ 3414786 w 7572786"/>
              <a:gd name="connsiteY83" fmla="*/ 0 h 83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7572786" h="8315375">
                <a:moveTo>
                  <a:pt x="256743" y="6179746"/>
                </a:moveTo>
                <a:cubicBezTo>
                  <a:pt x="342121" y="6176812"/>
                  <a:pt x="427377" y="6214943"/>
                  <a:pt x="481346" y="6289249"/>
                </a:cubicBezTo>
                <a:cubicBezTo>
                  <a:pt x="705985" y="6597110"/>
                  <a:pt x="976302" y="6866801"/>
                  <a:pt x="1284163" y="7091440"/>
                </a:cubicBezTo>
                <a:cubicBezTo>
                  <a:pt x="1593275" y="7316078"/>
                  <a:pt x="1932423" y="7490032"/>
                  <a:pt x="2294723" y="7607044"/>
                </a:cubicBezTo>
                <a:cubicBezTo>
                  <a:pt x="2655771" y="7724056"/>
                  <a:pt x="3032463" y="7783501"/>
                  <a:pt x="3415411" y="7783501"/>
                </a:cubicBezTo>
                <a:cubicBezTo>
                  <a:pt x="3798360" y="7783501"/>
                  <a:pt x="4175678" y="7724056"/>
                  <a:pt x="4536101" y="7607044"/>
                </a:cubicBezTo>
                <a:cubicBezTo>
                  <a:pt x="4675639" y="7561991"/>
                  <a:pt x="4825815" y="7638330"/>
                  <a:pt x="4871494" y="7777869"/>
                </a:cubicBezTo>
                <a:cubicBezTo>
                  <a:pt x="4916547" y="7918034"/>
                  <a:pt x="4840207" y="8067584"/>
                  <a:pt x="4700668" y="8113262"/>
                </a:cubicBezTo>
                <a:cubicBezTo>
                  <a:pt x="4285807" y="8247170"/>
                  <a:pt x="3853425" y="8315375"/>
                  <a:pt x="3414786" y="8315375"/>
                </a:cubicBezTo>
                <a:cubicBezTo>
                  <a:pt x="2976147" y="8315375"/>
                  <a:pt x="2543765" y="8247170"/>
                  <a:pt x="2129529" y="8112637"/>
                </a:cubicBezTo>
                <a:cubicBezTo>
                  <a:pt x="1714667" y="7978104"/>
                  <a:pt x="1324835" y="7779120"/>
                  <a:pt x="970670" y="7521319"/>
                </a:cubicBezTo>
                <a:cubicBezTo>
                  <a:pt x="617131" y="7264768"/>
                  <a:pt x="307393" y="6955655"/>
                  <a:pt x="50842" y="6602116"/>
                </a:cubicBezTo>
                <a:cubicBezTo>
                  <a:pt x="-35509" y="6483226"/>
                  <a:pt x="-9229" y="6316781"/>
                  <a:pt x="109661" y="6230430"/>
                </a:cubicBezTo>
                <a:cubicBezTo>
                  <a:pt x="154245" y="6198049"/>
                  <a:pt x="205516" y="6181506"/>
                  <a:pt x="256743" y="6179746"/>
                </a:cubicBezTo>
                <a:close/>
                <a:moveTo>
                  <a:pt x="741378" y="4768042"/>
                </a:moveTo>
                <a:cubicBezTo>
                  <a:pt x="844624" y="4777047"/>
                  <a:pt x="937663" y="4846151"/>
                  <a:pt x="971922" y="4950805"/>
                </a:cubicBezTo>
                <a:cubicBezTo>
                  <a:pt x="1054518" y="5206730"/>
                  <a:pt x="1177788" y="5447637"/>
                  <a:pt x="1336724" y="5666018"/>
                </a:cubicBezTo>
                <a:cubicBezTo>
                  <a:pt x="1423076" y="5784908"/>
                  <a:pt x="1396795" y="5951353"/>
                  <a:pt x="1277905" y="6037704"/>
                </a:cubicBezTo>
                <a:cubicBezTo>
                  <a:pt x="1230975" y="6072745"/>
                  <a:pt x="1176537" y="6089014"/>
                  <a:pt x="1122098" y="6089014"/>
                </a:cubicBezTo>
                <a:cubicBezTo>
                  <a:pt x="1040127" y="6089014"/>
                  <a:pt x="958781" y="6051470"/>
                  <a:pt x="906845" y="5979511"/>
                </a:cubicBezTo>
                <a:cubicBezTo>
                  <a:pt x="714745" y="5715451"/>
                  <a:pt x="566446" y="5424485"/>
                  <a:pt x="465703" y="5115373"/>
                </a:cubicBezTo>
                <a:cubicBezTo>
                  <a:pt x="420650" y="4975208"/>
                  <a:pt x="496990" y="4825658"/>
                  <a:pt x="636528" y="4779980"/>
                </a:cubicBezTo>
                <a:cubicBezTo>
                  <a:pt x="671413" y="4768717"/>
                  <a:pt x="706963" y="4765041"/>
                  <a:pt x="741378" y="4768042"/>
                </a:cubicBezTo>
                <a:close/>
                <a:moveTo>
                  <a:pt x="6132699" y="3015987"/>
                </a:moveTo>
                <a:cubicBezTo>
                  <a:pt x="6235945" y="3024992"/>
                  <a:pt x="6328984" y="3094097"/>
                  <a:pt x="6363242" y="3198751"/>
                </a:cubicBezTo>
                <a:cubicBezTo>
                  <a:pt x="6463360" y="3507863"/>
                  <a:pt x="6514045" y="3830116"/>
                  <a:pt x="6514045" y="4156749"/>
                </a:cubicBezTo>
                <a:cubicBezTo>
                  <a:pt x="6514045" y="4483382"/>
                  <a:pt x="6463360" y="4806886"/>
                  <a:pt x="6363242" y="5114747"/>
                </a:cubicBezTo>
                <a:cubicBezTo>
                  <a:pt x="6263125" y="5423859"/>
                  <a:pt x="6114826" y="5714825"/>
                  <a:pt x="5922100" y="5978885"/>
                </a:cubicBezTo>
                <a:cubicBezTo>
                  <a:pt x="5870790" y="6051470"/>
                  <a:pt x="5790071" y="6089014"/>
                  <a:pt x="5707474" y="6089014"/>
                </a:cubicBezTo>
                <a:cubicBezTo>
                  <a:pt x="5653035" y="6089014"/>
                  <a:pt x="5598596" y="6072745"/>
                  <a:pt x="5551041" y="6038330"/>
                </a:cubicBezTo>
                <a:cubicBezTo>
                  <a:pt x="5432151" y="5951979"/>
                  <a:pt x="5406496" y="5785533"/>
                  <a:pt x="5492221" y="5666644"/>
                </a:cubicBezTo>
                <a:cubicBezTo>
                  <a:pt x="5651158" y="5448263"/>
                  <a:pt x="5773802" y="5207356"/>
                  <a:pt x="5857024" y="4951430"/>
                </a:cubicBezTo>
                <a:cubicBezTo>
                  <a:pt x="5940247" y="4695506"/>
                  <a:pt x="5982171" y="4428943"/>
                  <a:pt x="5982171" y="4157375"/>
                </a:cubicBezTo>
                <a:cubicBezTo>
                  <a:pt x="5982171" y="3885806"/>
                  <a:pt x="5940247" y="3618618"/>
                  <a:pt x="5857024" y="3363318"/>
                </a:cubicBezTo>
                <a:cubicBezTo>
                  <a:pt x="5811971" y="3223154"/>
                  <a:pt x="5888311" y="3073604"/>
                  <a:pt x="6027849" y="3027925"/>
                </a:cubicBezTo>
                <a:cubicBezTo>
                  <a:pt x="6062734" y="3016662"/>
                  <a:pt x="6098283" y="3012986"/>
                  <a:pt x="6132699" y="3015987"/>
                </a:cubicBezTo>
                <a:close/>
                <a:moveTo>
                  <a:pt x="7139505" y="2689354"/>
                </a:moveTo>
                <a:cubicBezTo>
                  <a:pt x="7242751" y="2698359"/>
                  <a:pt x="7335789" y="2767464"/>
                  <a:pt x="7370048" y="2872118"/>
                </a:cubicBezTo>
                <a:cubicBezTo>
                  <a:pt x="7504581" y="3286353"/>
                  <a:pt x="7572786" y="3718735"/>
                  <a:pt x="7572786" y="4157375"/>
                </a:cubicBezTo>
                <a:cubicBezTo>
                  <a:pt x="7572786" y="4596014"/>
                  <a:pt x="7505206" y="5029022"/>
                  <a:pt x="7370673" y="5442631"/>
                </a:cubicBezTo>
                <a:cubicBezTo>
                  <a:pt x="7236141" y="5858119"/>
                  <a:pt x="7037158" y="6247325"/>
                  <a:pt x="6779355" y="6601490"/>
                </a:cubicBezTo>
                <a:cubicBezTo>
                  <a:pt x="6727420" y="6673449"/>
                  <a:pt x="6646700" y="6710993"/>
                  <a:pt x="6564103" y="6710993"/>
                </a:cubicBezTo>
                <a:cubicBezTo>
                  <a:pt x="6509664" y="6710993"/>
                  <a:pt x="6455226" y="6694099"/>
                  <a:pt x="6407044" y="6660309"/>
                </a:cubicBezTo>
                <a:cubicBezTo>
                  <a:pt x="6288154" y="6573958"/>
                  <a:pt x="6262499" y="6407513"/>
                  <a:pt x="6348225" y="6288623"/>
                </a:cubicBezTo>
                <a:cubicBezTo>
                  <a:pt x="6572863" y="5979511"/>
                  <a:pt x="6746817" y="5639737"/>
                  <a:pt x="6863829" y="5278063"/>
                </a:cubicBezTo>
                <a:cubicBezTo>
                  <a:pt x="6980842" y="4917015"/>
                  <a:pt x="7040287" y="4540323"/>
                  <a:pt x="7040287" y="4157375"/>
                </a:cubicBezTo>
                <a:cubicBezTo>
                  <a:pt x="7040287" y="3774425"/>
                  <a:pt x="6980842" y="3396482"/>
                  <a:pt x="6863829" y="3036685"/>
                </a:cubicBezTo>
                <a:cubicBezTo>
                  <a:pt x="6818777" y="2896521"/>
                  <a:pt x="6895116" y="2746971"/>
                  <a:pt x="7034655" y="2701292"/>
                </a:cubicBezTo>
                <a:cubicBezTo>
                  <a:pt x="7069540" y="2690029"/>
                  <a:pt x="7105089" y="2686353"/>
                  <a:pt x="7139505" y="2689354"/>
                </a:cubicBezTo>
                <a:close/>
                <a:moveTo>
                  <a:pt x="3414786" y="2121863"/>
                </a:moveTo>
                <a:cubicBezTo>
                  <a:pt x="4538603" y="2121863"/>
                  <a:pt x="5450923" y="3033557"/>
                  <a:pt x="5450923" y="4157375"/>
                </a:cubicBezTo>
                <a:cubicBezTo>
                  <a:pt x="5450923" y="5281818"/>
                  <a:pt x="4539229" y="6192886"/>
                  <a:pt x="3414786" y="6192886"/>
                </a:cubicBezTo>
                <a:cubicBezTo>
                  <a:pt x="2290342" y="6192886"/>
                  <a:pt x="1379274" y="5281818"/>
                  <a:pt x="1379274" y="4157375"/>
                </a:cubicBezTo>
                <a:cubicBezTo>
                  <a:pt x="1379274" y="3032931"/>
                  <a:pt x="2290968" y="2121863"/>
                  <a:pt x="3414786" y="2121863"/>
                </a:cubicBezTo>
                <a:close/>
                <a:moveTo>
                  <a:pt x="1739731" y="1598750"/>
                </a:moveTo>
                <a:cubicBezTo>
                  <a:pt x="1825110" y="1595816"/>
                  <a:pt x="1910366" y="1633947"/>
                  <a:pt x="1964335" y="1708253"/>
                </a:cubicBezTo>
                <a:cubicBezTo>
                  <a:pt x="2050686" y="1827142"/>
                  <a:pt x="2024406" y="1993587"/>
                  <a:pt x="1905516" y="2079939"/>
                </a:cubicBezTo>
                <a:cubicBezTo>
                  <a:pt x="1687135" y="2238875"/>
                  <a:pt x="1495661" y="2430350"/>
                  <a:pt x="1336724" y="2648731"/>
                </a:cubicBezTo>
                <a:cubicBezTo>
                  <a:pt x="1177788" y="2867112"/>
                  <a:pt x="1055144" y="3108019"/>
                  <a:pt x="971922" y="3363944"/>
                </a:cubicBezTo>
                <a:cubicBezTo>
                  <a:pt x="935629" y="3476576"/>
                  <a:pt x="831132" y="3547910"/>
                  <a:pt x="719125" y="3547910"/>
                </a:cubicBezTo>
                <a:cubicBezTo>
                  <a:pt x="691593" y="3547910"/>
                  <a:pt x="664061" y="3543530"/>
                  <a:pt x="636528" y="3534770"/>
                </a:cubicBezTo>
                <a:cubicBezTo>
                  <a:pt x="496364" y="3489717"/>
                  <a:pt x="420025" y="3338915"/>
                  <a:pt x="465703" y="3199376"/>
                </a:cubicBezTo>
                <a:cubicBezTo>
                  <a:pt x="565821" y="2890264"/>
                  <a:pt x="714119" y="2599298"/>
                  <a:pt x="906845" y="2335238"/>
                </a:cubicBezTo>
                <a:cubicBezTo>
                  <a:pt x="1098946" y="2071178"/>
                  <a:pt x="1329216" y="1841534"/>
                  <a:pt x="1592649" y="1649434"/>
                </a:cubicBezTo>
                <a:cubicBezTo>
                  <a:pt x="1637233" y="1617053"/>
                  <a:pt x="1688504" y="1600510"/>
                  <a:pt x="1739731" y="1598750"/>
                </a:cubicBezTo>
                <a:close/>
                <a:moveTo>
                  <a:pt x="2540636" y="1187017"/>
                </a:moveTo>
                <a:cubicBezTo>
                  <a:pt x="2687683" y="1187017"/>
                  <a:pt x="2806573" y="1305906"/>
                  <a:pt x="2806573" y="1452954"/>
                </a:cubicBezTo>
                <a:cubicBezTo>
                  <a:pt x="2806573" y="1599375"/>
                  <a:pt x="2687683" y="1718890"/>
                  <a:pt x="2540636" y="1718890"/>
                </a:cubicBezTo>
                <a:cubicBezTo>
                  <a:pt x="2393588" y="1718890"/>
                  <a:pt x="2274699" y="1600001"/>
                  <a:pt x="2274699" y="1452954"/>
                </a:cubicBezTo>
                <a:cubicBezTo>
                  <a:pt x="2274699" y="1305906"/>
                  <a:pt x="2393588" y="1187017"/>
                  <a:pt x="2540636" y="1187017"/>
                </a:cubicBezTo>
                <a:close/>
                <a:moveTo>
                  <a:pt x="3414786" y="0"/>
                </a:moveTo>
                <a:cubicBezTo>
                  <a:pt x="3854051" y="0"/>
                  <a:pt x="4286433" y="68205"/>
                  <a:pt x="4700668" y="202738"/>
                </a:cubicBezTo>
                <a:cubicBezTo>
                  <a:pt x="5115530" y="337270"/>
                  <a:pt x="5505362" y="536254"/>
                  <a:pt x="5859527" y="794056"/>
                </a:cubicBezTo>
                <a:cubicBezTo>
                  <a:pt x="5978416" y="880407"/>
                  <a:pt x="6004072" y="1046852"/>
                  <a:pt x="5918346" y="1165742"/>
                </a:cubicBezTo>
                <a:cubicBezTo>
                  <a:pt x="5866410" y="1237701"/>
                  <a:pt x="5785691" y="1275245"/>
                  <a:pt x="5703093" y="1275245"/>
                </a:cubicBezTo>
                <a:cubicBezTo>
                  <a:pt x="5648029" y="1275245"/>
                  <a:pt x="5593590" y="1258350"/>
                  <a:pt x="5546034" y="1224561"/>
                </a:cubicBezTo>
                <a:cubicBezTo>
                  <a:pt x="5236922" y="999922"/>
                  <a:pt x="4897775" y="825968"/>
                  <a:pt x="4535475" y="708956"/>
                </a:cubicBezTo>
                <a:cubicBezTo>
                  <a:pt x="4175052" y="591318"/>
                  <a:pt x="3797735" y="531874"/>
                  <a:pt x="3414786" y="531874"/>
                </a:cubicBezTo>
                <a:cubicBezTo>
                  <a:pt x="3031837" y="531874"/>
                  <a:pt x="2654519" y="591318"/>
                  <a:pt x="2294097" y="708330"/>
                </a:cubicBezTo>
                <a:cubicBezTo>
                  <a:pt x="1932423" y="825968"/>
                  <a:pt x="1592024" y="999297"/>
                  <a:pt x="1283537" y="1223935"/>
                </a:cubicBezTo>
                <a:cubicBezTo>
                  <a:pt x="1164648" y="1310286"/>
                  <a:pt x="998202" y="1284005"/>
                  <a:pt x="911851" y="1165116"/>
                </a:cubicBezTo>
                <a:cubicBezTo>
                  <a:pt x="825500" y="1046227"/>
                  <a:pt x="851781" y="879782"/>
                  <a:pt x="970670" y="793430"/>
                </a:cubicBezTo>
                <a:cubicBezTo>
                  <a:pt x="1324835" y="535002"/>
                  <a:pt x="1715293" y="336645"/>
                  <a:pt x="2129529" y="201486"/>
                </a:cubicBezTo>
                <a:cubicBezTo>
                  <a:pt x="2543765" y="68205"/>
                  <a:pt x="2975521" y="0"/>
                  <a:pt x="3414786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81" y="2798362"/>
            <a:ext cx="3620656" cy="687997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633374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tx1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4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9141512" y="329115"/>
            <a:ext cx="2198088" cy="1072507"/>
          </a:xfrm>
          <a:custGeom>
            <a:avLst/>
            <a:gdLst>
              <a:gd name="connsiteX0" fmla="*/ 1931640 w 2198088"/>
              <a:gd name="connsiteY0" fmla="*/ 1072507 h 1072507"/>
              <a:gd name="connsiteX1" fmla="*/ 1775206 w 2198088"/>
              <a:gd name="connsiteY1" fmla="*/ 1021823 h 1072507"/>
              <a:gd name="connsiteX2" fmla="*/ 1059993 w 2198088"/>
              <a:gd name="connsiteY2" fmla="*/ 657020 h 1072507"/>
              <a:gd name="connsiteX3" fmla="*/ 265937 w 2198088"/>
              <a:gd name="connsiteY3" fmla="*/ 531874 h 1072507"/>
              <a:gd name="connsiteX4" fmla="*/ 0 w 2198088"/>
              <a:gd name="connsiteY4" fmla="*/ 265937 h 1072507"/>
              <a:gd name="connsiteX5" fmla="*/ 265937 w 2198088"/>
              <a:gd name="connsiteY5" fmla="*/ 0 h 1072507"/>
              <a:gd name="connsiteX6" fmla="*/ 1223935 w 2198088"/>
              <a:gd name="connsiteY6" fmla="*/ 150802 h 1072507"/>
              <a:gd name="connsiteX7" fmla="*/ 2088699 w 2198088"/>
              <a:gd name="connsiteY7" fmla="*/ 591944 h 1072507"/>
              <a:gd name="connsiteX8" fmla="*/ 2147518 w 2198088"/>
              <a:gd name="connsiteY8" fmla="*/ 963630 h 1072507"/>
              <a:gd name="connsiteX9" fmla="*/ 1931640 w 2198088"/>
              <a:gd name="connsiteY9" fmla="*/ 1072507 h 1072507"/>
              <a:gd name="connsiteX10" fmla="*/ 1931640 w 2198088"/>
              <a:gd name="connsiteY10" fmla="*/ 1072507 h 107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98088" h="1072507">
                <a:moveTo>
                  <a:pt x="1931640" y="1072507"/>
                </a:moveTo>
                <a:cubicBezTo>
                  <a:pt x="1877201" y="1072507"/>
                  <a:pt x="1822762" y="1055613"/>
                  <a:pt x="1775206" y="1021823"/>
                </a:cubicBezTo>
                <a:cubicBezTo>
                  <a:pt x="1556826" y="862887"/>
                  <a:pt x="1315918" y="739617"/>
                  <a:pt x="1059993" y="657020"/>
                </a:cubicBezTo>
                <a:cubicBezTo>
                  <a:pt x="804694" y="574423"/>
                  <a:pt x="537505" y="531874"/>
                  <a:pt x="265937" y="531874"/>
                </a:cubicBezTo>
                <a:cubicBezTo>
                  <a:pt x="119515" y="531874"/>
                  <a:pt x="0" y="412358"/>
                  <a:pt x="0" y="265937"/>
                </a:cubicBezTo>
                <a:cubicBezTo>
                  <a:pt x="0" y="119515"/>
                  <a:pt x="119515" y="0"/>
                  <a:pt x="265937" y="0"/>
                </a:cubicBezTo>
                <a:cubicBezTo>
                  <a:pt x="593196" y="0"/>
                  <a:pt x="915449" y="50684"/>
                  <a:pt x="1223935" y="150802"/>
                </a:cubicBezTo>
                <a:cubicBezTo>
                  <a:pt x="1533047" y="250919"/>
                  <a:pt x="1824014" y="399218"/>
                  <a:pt x="2088699" y="591944"/>
                </a:cubicBezTo>
                <a:cubicBezTo>
                  <a:pt x="2207589" y="678295"/>
                  <a:pt x="2233244" y="844740"/>
                  <a:pt x="2147518" y="963630"/>
                </a:cubicBezTo>
                <a:cubicBezTo>
                  <a:pt x="2094956" y="1034963"/>
                  <a:pt x="2013611" y="1072507"/>
                  <a:pt x="1931640" y="1072507"/>
                </a:cubicBezTo>
                <a:lnTo>
                  <a:pt x="1931640" y="1072507"/>
                </a:ln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7474671" y="5455239"/>
            <a:ext cx="2197472" cy="1073019"/>
          </a:xfrm>
          <a:custGeom>
            <a:avLst/>
            <a:gdLst>
              <a:gd name="connsiteX0" fmla="*/ 1932152 w 2197472"/>
              <a:gd name="connsiteY0" fmla="*/ 1073020 h 1073019"/>
              <a:gd name="connsiteX1" fmla="*/ 974154 w 2197472"/>
              <a:gd name="connsiteY1" fmla="*/ 922218 h 1073019"/>
              <a:gd name="connsiteX2" fmla="*/ 109390 w 2197472"/>
              <a:gd name="connsiteY2" fmla="*/ 481075 h 1073019"/>
              <a:gd name="connsiteX3" fmla="*/ 50571 w 2197472"/>
              <a:gd name="connsiteY3" fmla="*/ 109390 h 1073019"/>
              <a:gd name="connsiteX4" fmla="*/ 422257 w 2197472"/>
              <a:gd name="connsiteY4" fmla="*/ 50571 h 1073019"/>
              <a:gd name="connsiteX5" fmla="*/ 1137470 w 2197472"/>
              <a:gd name="connsiteY5" fmla="*/ 415373 h 1073019"/>
              <a:gd name="connsiteX6" fmla="*/ 1931526 w 2197472"/>
              <a:gd name="connsiteY6" fmla="*/ 540520 h 1073019"/>
              <a:gd name="connsiteX7" fmla="*/ 2197463 w 2197472"/>
              <a:gd name="connsiteY7" fmla="*/ 806457 h 1073019"/>
              <a:gd name="connsiteX8" fmla="*/ 1932152 w 2197472"/>
              <a:gd name="connsiteY8" fmla="*/ 1073020 h 1073019"/>
              <a:gd name="connsiteX9" fmla="*/ 1932152 w 2197472"/>
              <a:gd name="connsiteY9" fmla="*/ 1073020 h 1073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97472" h="1073019">
                <a:moveTo>
                  <a:pt x="1932152" y="1073020"/>
                </a:moveTo>
                <a:cubicBezTo>
                  <a:pt x="1604893" y="1073020"/>
                  <a:pt x="1282641" y="1022335"/>
                  <a:pt x="974154" y="922218"/>
                </a:cubicBezTo>
                <a:cubicBezTo>
                  <a:pt x="665041" y="822100"/>
                  <a:pt x="374075" y="673802"/>
                  <a:pt x="109390" y="481075"/>
                </a:cubicBezTo>
                <a:cubicBezTo>
                  <a:pt x="-9499" y="394725"/>
                  <a:pt x="-35155" y="228280"/>
                  <a:pt x="50571" y="109390"/>
                </a:cubicBezTo>
                <a:cubicBezTo>
                  <a:pt x="136922" y="-9500"/>
                  <a:pt x="303367" y="-35155"/>
                  <a:pt x="422257" y="50571"/>
                </a:cubicBezTo>
                <a:cubicBezTo>
                  <a:pt x="640638" y="209507"/>
                  <a:pt x="881545" y="332777"/>
                  <a:pt x="1137470" y="415373"/>
                </a:cubicBezTo>
                <a:cubicBezTo>
                  <a:pt x="1392769" y="497971"/>
                  <a:pt x="1659958" y="540520"/>
                  <a:pt x="1931526" y="540520"/>
                </a:cubicBezTo>
                <a:cubicBezTo>
                  <a:pt x="2077948" y="540520"/>
                  <a:pt x="2197463" y="660036"/>
                  <a:pt x="2197463" y="806457"/>
                </a:cubicBezTo>
                <a:cubicBezTo>
                  <a:pt x="2198714" y="952879"/>
                  <a:pt x="2079199" y="1073020"/>
                  <a:pt x="1932152" y="1073020"/>
                </a:cubicBezTo>
                <a:lnTo>
                  <a:pt x="1932152" y="1073020"/>
                </a:ln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5248823" y="1959115"/>
            <a:ext cx="721507" cy="2938481"/>
          </a:xfrm>
          <a:custGeom>
            <a:avLst/>
            <a:gdLst>
              <a:gd name="connsiteX0" fmla="*/ 455534 w 721507"/>
              <a:gd name="connsiteY0" fmla="*/ 2938482 h 2938481"/>
              <a:gd name="connsiteX1" fmla="*/ 202738 w 721507"/>
              <a:gd name="connsiteY1" fmla="*/ 2754516 h 2938481"/>
              <a:gd name="connsiteX2" fmla="*/ 0 w 721507"/>
              <a:gd name="connsiteY2" fmla="*/ 1469259 h 2938481"/>
              <a:gd name="connsiteX3" fmla="*/ 202112 w 721507"/>
              <a:gd name="connsiteY3" fmla="*/ 184002 h 2938481"/>
              <a:gd name="connsiteX4" fmla="*/ 537505 w 721507"/>
              <a:gd name="connsiteY4" fmla="*/ 13177 h 2938481"/>
              <a:gd name="connsiteX5" fmla="*/ 708330 w 721507"/>
              <a:gd name="connsiteY5" fmla="*/ 348570 h 2938481"/>
              <a:gd name="connsiteX6" fmla="*/ 531874 w 721507"/>
              <a:gd name="connsiteY6" fmla="*/ 1469259 h 2938481"/>
              <a:gd name="connsiteX7" fmla="*/ 708330 w 721507"/>
              <a:gd name="connsiteY7" fmla="*/ 2589948 h 2938481"/>
              <a:gd name="connsiteX8" fmla="*/ 537505 w 721507"/>
              <a:gd name="connsiteY8" fmla="*/ 2925341 h 2938481"/>
              <a:gd name="connsiteX9" fmla="*/ 455534 w 721507"/>
              <a:gd name="connsiteY9" fmla="*/ 2938482 h 2938481"/>
              <a:gd name="connsiteX10" fmla="*/ 455534 w 721507"/>
              <a:gd name="connsiteY10" fmla="*/ 2938482 h 2938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21507" h="2938481">
                <a:moveTo>
                  <a:pt x="455534" y="2938482"/>
                </a:moveTo>
                <a:cubicBezTo>
                  <a:pt x="343528" y="2938482"/>
                  <a:pt x="239030" y="2866522"/>
                  <a:pt x="202738" y="2754516"/>
                </a:cubicBezTo>
                <a:cubicBezTo>
                  <a:pt x="68205" y="2340906"/>
                  <a:pt x="0" y="1907898"/>
                  <a:pt x="0" y="1469259"/>
                </a:cubicBezTo>
                <a:cubicBezTo>
                  <a:pt x="0" y="1030620"/>
                  <a:pt x="68205" y="598238"/>
                  <a:pt x="202112" y="184002"/>
                </a:cubicBezTo>
                <a:cubicBezTo>
                  <a:pt x="247165" y="44464"/>
                  <a:pt x="397967" y="-32502"/>
                  <a:pt x="537505" y="13177"/>
                </a:cubicBezTo>
                <a:cubicBezTo>
                  <a:pt x="677044" y="58230"/>
                  <a:pt x="754009" y="208406"/>
                  <a:pt x="708330" y="348570"/>
                </a:cubicBezTo>
                <a:cubicBezTo>
                  <a:pt x="591318" y="708993"/>
                  <a:pt x="531874" y="1086310"/>
                  <a:pt x="531874" y="1469259"/>
                </a:cubicBezTo>
                <a:cubicBezTo>
                  <a:pt x="531874" y="1852208"/>
                  <a:pt x="591318" y="2230151"/>
                  <a:pt x="708330" y="2589948"/>
                </a:cubicBezTo>
                <a:cubicBezTo>
                  <a:pt x="753383" y="2729487"/>
                  <a:pt x="677670" y="2879663"/>
                  <a:pt x="537505" y="2925341"/>
                </a:cubicBezTo>
                <a:cubicBezTo>
                  <a:pt x="510599" y="2934727"/>
                  <a:pt x="482441" y="2938482"/>
                  <a:pt x="455534" y="2938482"/>
                </a:cubicBezTo>
                <a:lnTo>
                  <a:pt x="455534" y="2938482"/>
                </a:ln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6306939" y="3162437"/>
            <a:ext cx="531873" cy="531873"/>
          </a:xfrm>
          <a:custGeom>
            <a:avLst/>
            <a:gdLst>
              <a:gd name="connsiteX0" fmla="*/ 531874 w 531873"/>
              <a:gd name="connsiteY0" fmla="*/ 265937 h 531873"/>
              <a:gd name="connsiteX1" fmla="*/ 265937 w 531873"/>
              <a:gd name="connsiteY1" fmla="*/ 531874 h 531873"/>
              <a:gd name="connsiteX2" fmla="*/ 0 w 531873"/>
              <a:gd name="connsiteY2" fmla="*/ 265937 h 531873"/>
              <a:gd name="connsiteX3" fmla="*/ 265937 w 531873"/>
              <a:gd name="connsiteY3" fmla="*/ 0 h 531873"/>
              <a:gd name="connsiteX4" fmla="*/ 531874 w 531873"/>
              <a:gd name="connsiteY4" fmla="*/ 265937 h 531873"/>
              <a:gd name="connsiteX5" fmla="*/ 531874 w 531873"/>
              <a:gd name="connsiteY5" fmla="*/ 265937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873" h="531873">
                <a:moveTo>
                  <a:pt x="531874" y="265937"/>
                </a:moveTo>
                <a:cubicBezTo>
                  <a:pt x="531874" y="412984"/>
                  <a:pt x="412984" y="531874"/>
                  <a:pt x="265937" y="531874"/>
                </a:cubicBezTo>
                <a:cubicBezTo>
                  <a:pt x="118889" y="531874"/>
                  <a:pt x="0" y="412984"/>
                  <a:pt x="0" y="265937"/>
                </a:cubicBezTo>
                <a:cubicBezTo>
                  <a:pt x="0" y="118889"/>
                  <a:pt x="118889" y="0"/>
                  <a:pt x="265937" y="0"/>
                </a:cubicBezTo>
                <a:cubicBezTo>
                  <a:pt x="412984" y="0"/>
                  <a:pt x="531874" y="119515"/>
                  <a:pt x="531874" y="265937"/>
                </a:cubicBezTo>
                <a:lnTo>
                  <a:pt x="531874" y="265937"/>
                </a:ln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11434200" y="1497360"/>
            <a:ext cx="531873" cy="531873"/>
          </a:xfrm>
          <a:custGeom>
            <a:avLst/>
            <a:gdLst>
              <a:gd name="connsiteX0" fmla="*/ 531874 w 531873"/>
              <a:gd name="connsiteY0" fmla="*/ 265937 h 531873"/>
              <a:gd name="connsiteX1" fmla="*/ 265937 w 531873"/>
              <a:gd name="connsiteY1" fmla="*/ 531874 h 531873"/>
              <a:gd name="connsiteX2" fmla="*/ 0 w 531873"/>
              <a:gd name="connsiteY2" fmla="*/ 265937 h 531873"/>
              <a:gd name="connsiteX3" fmla="*/ 265937 w 531873"/>
              <a:gd name="connsiteY3" fmla="*/ 0 h 531873"/>
              <a:gd name="connsiteX4" fmla="*/ 531874 w 531873"/>
              <a:gd name="connsiteY4" fmla="*/ 265937 h 531873"/>
              <a:gd name="connsiteX5" fmla="*/ 531874 w 531873"/>
              <a:gd name="connsiteY5" fmla="*/ 265937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873" h="531873">
                <a:moveTo>
                  <a:pt x="531874" y="265937"/>
                </a:moveTo>
                <a:cubicBezTo>
                  <a:pt x="531874" y="412984"/>
                  <a:pt x="412984" y="531874"/>
                  <a:pt x="265937" y="531874"/>
                </a:cubicBezTo>
                <a:cubicBezTo>
                  <a:pt x="118889" y="531874"/>
                  <a:pt x="0" y="412984"/>
                  <a:pt x="0" y="265937"/>
                </a:cubicBezTo>
                <a:cubicBezTo>
                  <a:pt x="0" y="118889"/>
                  <a:pt x="118889" y="0"/>
                  <a:pt x="265937" y="0"/>
                </a:cubicBezTo>
                <a:cubicBezTo>
                  <a:pt x="412359" y="0"/>
                  <a:pt x="531874" y="118889"/>
                  <a:pt x="531874" y="265937"/>
                </a:cubicBezTo>
                <a:lnTo>
                  <a:pt x="531874" y="265937"/>
                </a:ln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Graphic 2">
            <a:extLst>
              <a:ext uri="{FF2B5EF4-FFF2-40B4-BE49-F238E27FC236}">
                <a16:creationId xmlns:a16="http://schemas.microsoft.com/office/drawing/2014/main" id="{745B9CE1-0E8E-4610-8391-3DC755D26ADA}"/>
              </a:ext>
            </a:extLst>
          </p:cNvPr>
          <p:cNvSpPr/>
          <p:nvPr/>
        </p:nvSpPr>
        <p:spPr>
          <a:xfrm>
            <a:off x="5992195" y="875381"/>
            <a:ext cx="531873" cy="531873"/>
          </a:xfrm>
          <a:custGeom>
            <a:avLst/>
            <a:gdLst>
              <a:gd name="connsiteX0" fmla="*/ 531874 w 531873"/>
              <a:gd name="connsiteY0" fmla="*/ 265937 h 531873"/>
              <a:gd name="connsiteX1" fmla="*/ 265937 w 531873"/>
              <a:gd name="connsiteY1" fmla="*/ 531874 h 531873"/>
              <a:gd name="connsiteX2" fmla="*/ 0 w 531873"/>
              <a:gd name="connsiteY2" fmla="*/ 265937 h 531873"/>
              <a:gd name="connsiteX3" fmla="*/ 265937 w 531873"/>
              <a:gd name="connsiteY3" fmla="*/ 0 h 531873"/>
              <a:gd name="connsiteX4" fmla="*/ 531874 w 531873"/>
              <a:gd name="connsiteY4" fmla="*/ 265937 h 531873"/>
              <a:gd name="connsiteX5" fmla="*/ 531874 w 531873"/>
              <a:gd name="connsiteY5" fmla="*/ 265937 h 5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873" h="531873">
                <a:moveTo>
                  <a:pt x="531874" y="265937"/>
                </a:moveTo>
                <a:cubicBezTo>
                  <a:pt x="531874" y="412984"/>
                  <a:pt x="412984" y="531874"/>
                  <a:pt x="265937" y="531874"/>
                </a:cubicBezTo>
                <a:cubicBezTo>
                  <a:pt x="118889" y="531874"/>
                  <a:pt x="0" y="412984"/>
                  <a:pt x="0" y="265937"/>
                </a:cubicBezTo>
                <a:cubicBezTo>
                  <a:pt x="0" y="118889"/>
                  <a:pt x="118889" y="0"/>
                  <a:pt x="265937" y="0"/>
                </a:cubicBezTo>
                <a:cubicBezTo>
                  <a:pt x="412984" y="0"/>
                  <a:pt x="531874" y="118889"/>
                  <a:pt x="531874" y="265937"/>
                </a:cubicBezTo>
                <a:lnTo>
                  <a:pt x="531874" y="265937"/>
                </a:ln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38E780F-7688-441A-AA9C-C218E641C9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0717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- White - No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81" y="2798362"/>
            <a:ext cx="3620656" cy="687997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tx2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633374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tx1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10" name="Graphic 6">
            <a:extLst>
              <a:ext uri="{FF2B5EF4-FFF2-40B4-BE49-F238E27FC236}">
                <a16:creationId xmlns:a16="http://schemas.microsoft.com/office/drawing/2014/main" id="{723E72EC-2BC2-4156-8A0B-3AB3B2510DE8}"/>
              </a:ext>
            </a:extLst>
          </p:cNvPr>
          <p:cNvSpPr/>
          <p:nvPr/>
        </p:nvSpPr>
        <p:spPr>
          <a:xfrm>
            <a:off x="7374222" y="1393312"/>
            <a:ext cx="4071375" cy="4071375"/>
          </a:xfrm>
          <a:custGeom>
            <a:avLst/>
            <a:gdLst>
              <a:gd name="connsiteX0" fmla="*/ 4071375 w 4071375"/>
              <a:gd name="connsiteY0" fmla="*/ 2035688 h 4071375"/>
              <a:gd name="connsiteX1" fmla="*/ 2035688 w 4071375"/>
              <a:gd name="connsiteY1" fmla="*/ 4071375 h 4071375"/>
              <a:gd name="connsiteX2" fmla="*/ 0 w 4071375"/>
              <a:gd name="connsiteY2" fmla="*/ 2035688 h 4071375"/>
              <a:gd name="connsiteX3" fmla="*/ 2035688 w 4071375"/>
              <a:gd name="connsiteY3" fmla="*/ 0 h 4071375"/>
              <a:gd name="connsiteX4" fmla="*/ 4071375 w 4071375"/>
              <a:gd name="connsiteY4" fmla="*/ 2035688 h 407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375" h="4071375">
                <a:moveTo>
                  <a:pt x="4071375" y="2035688"/>
                </a:moveTo>
                <a:cubicBezTo>
                  <a:pt x="4071375" y="3159967"/>
                  <a:pt x="3159967" y="4071375"/>
                  <a:pt x="2035688" y="4071375"/>
                </a:cubicBezTo>
                <a:cubicBezTo>
                  <a:pt x="911408" y="4071375"/>
                  <a:pt x="0" y="3159967"/>
                  <a:pt x="0" y="2035688"/>
                </a:cubicBezTo>
                <a:cubicBezTo>
                  <a:pt x="0" y="911408"/>
                  <a:pt x="911408" y="0"/>
                  <a:pt x="2035688" y="0"/>
                </a:cubicBezTo>
                <a:cubicBezTo>
                  <a:pt x="3159967" y="0"/>
                  <a:pt x="4071375" y="911408"/>
                  <a:pt x="4071375" y="2035688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Graphic 6">
            <a:extLst>
              <a:ext uri="{FF2B5EF4-FFF2-40B4-BE49-F238E27FC236}">
                <a16:creationId xmlns:a16="http://schemas.microsoft.com/office/drawing/2014/main" id="{E6CDD9AB-DCFD-4DF4-A5E1-CB630FB3C1A2}"/>
              </a:ext>
            </a:extLst>
          </p:cNvPr>
          <p:cNvSpPr/>
          <p:nvPr/>
        </p:nvSpPr>
        <p:spPr>
          <a:xfrm>
            <a:off x="11436373" y="2286765"/>
            <a:ext cx="1072855" cy="3073972"/>
          </a:xfrm>
          <a:custGeom>
            <a:avLst/>
            <a:gdLst>
              <a:gd name="connsiteX0" fmla="*/ 266005 w 1072855"/>
              <a:gd name="connsiteY0" fmla="*/ 3073972 h 3073972"/>
              <a:gd name="connsiteX1" fmla="*/ 109461 w 1072855"/>
              <a:gd name="connsiteY1" fmla="*/ 3023235 h 3073972"/>
              <a:gd name="connsiteX2" fmla="*/ 50680 w 1072855"/>
              <a:gd name="connsiteY2" fmla="*/ 2651366 h 3073972"/>
              <a:gd name="connsiteX3" fmla="*/ 415742 w 1072855"/>
              <a:gd name="connsiteY3" fmla="*/ 1936091 h 3073972"/>
              <a:gd name="connsiteX4" fmla="*/ 540730 w 1072855"/>
              <a:gd name="connsiteY4" fmla="*/ 1142235 h 3073972"/>
              <a:gd name="connsiteX5" fmla="*/ 415742 w 1072855"/>
              <a:gd name="connsiteY5" fmla="*/ 348379 h 3073972"/>
              <a:gd name="connsiteX6" fmla="*/ 586518 w 1072855"/>
              <a:gd name="connsiteY6" fmla="*/ 13016 h 3073972"/>
              <a:gd name="connsiteX7" fmla="*/ 921880 w 1072855"/>
              <a:gd name="connsiteY7" fmla="*/ 183791 h 3073972"/>
              <a:gd name="connsiteX8" fmla="*/ 1072855 w 1072855"/>
              <a:gd name="connsiteY8" fmla="*/ 1141616 h 3073972"/>
              <a:gd name="connsiteX9" fmla="*/ 921880 w 1072855"/>
              <a:gd name="connsiteY9" fmla="*/ 2099441 h 3073972"/>
              <a:gd name="connsiteX10" fmla="*/ 480711 w 1072855"/>
              <a:gd name="connsiteY10" fmla="*/ 2963835 h 3073972"/>
              <a:gd name="connsiteX11" fmla="*/ 266005 w 1072855"/>
              <a:gd name="connsiteY11" fmla="*/ 3073972 h 307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72855" h="3073972">
                <a:moveTo>
                  <a:pt x="266005" y="3073972"/>
                </a:moveTo>
                <a:cubicBezTo>
                  <a:pt x="211555" y="3073972"/>
                  <a:pt x="157105" y="3057266"/>
                  <a:pt x="109461" y="3023235"/>
                </a:cubicBezTo>
                <a:cubicBezTo>
                  <a:pt x="-9339" y="2936610"/>
                  <a:pt x="-35326" y="2770166"/>
                  <a:pt x="50680" y="2651366"/>
                </a:cubicBezTo>
                <a:cubicBezTo>
                  <a:pt x="209699" y="2432947"/>
                  <a:pt x="332830" y="2192254"/>
                  <a:pt x="415742" y="1936091"/>
                </a:cubicBezTo>
                <a:cubicBezTo>
                  <a:pt x="498655" y="1680547"/>
                  <a:pt x="540730" y="1413866"/>
                  <a:pt x="540730" y="1142235"/>
                </a:cubicBezTo>
                <a:cubicBezTo>
                  <a:pt x="540730" y="870603"/>
                  <a:pt x="498655" y="603922"/>
                  <a:pt x="415742" y="348379"/>
                </a:cubicBezTo>
                <a:cubicBezTo>
                  <a:pt x="370574" y="208541"/>
                  <a:pt x="446680" y="58803"/>
                  <a:pt x="586518" y="13016"/>
                </a:cubicBezTo>
                <a:cubicBezTo>
                  <a:pt x="726355" y="-32153"/>
                  <a:pt x="876092" y="43953"/>
                  <a:pt x="921880" y="183791"/>
                </a:cubicBezTo>
                <a:cubicBezTo>
                  <a:pt x="1022117" y="492547"/>
                  <a:pt x="1072855" y="814916"/>
                  <a:pt x="1072855" y="1141616"/>
                </a:cubicBezTo>
                <a:cubicBezTo>
                  <a:pt x="1072855" y="1468316"/>
                  <a:pt x="1022117" y="1791304"/>
                  <a:pt x="921880" y="2099441"/>
                </a:cubicBezTo>
                <a:cubicBezTo>
                  <a:pt x="821643" y="2408816"/>
                  <a:pt x="673143" y="2699629"/>
                  <a:pt x="480711" y="2963835"/>
                </a:cubicBezTo>
                <a:cubicBezTo>
                  <a:pt x="429355" y="3036228"/>
                  <a:pt x="348299" y="3073972"/>
                  <a:pt x="266005" y="3073972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6">
            <a:extLst>
              <a:ext uri="{FF2B5EF4-FFF2-40B4-BE49-F238E27FC236}">
                <a16:creationId xmlns:a16="http://schemas.microsoft.com/office/drawing/2014/main" id="{5387310E-7F05-4114-81F2-4053569CC46E}"/>
              </a:ext>
            </a:extLst>
          </p:cNvPr>
          <p:cNvSpPr/>
          <p:nvPr/>
        </p:nvSpPr>
        <p:spPr>
          <a:xfrm>
            <a:off x="9143847" y="329062"/>
            <a:ext cx="2197742" cy="1072912"/>
          </a:xfrm>
          <a:custGeom>
            <a:avLst/>
            <a:gdLst>
              <a:gd name="connsiteX0" fmla="*/ 1931738 w 2197742"/>
              <a:gd name="connsiteY0" fmla="*/ 1072913 h 1072912"/>
              <a:gd name="connsiteX1" fmla="*/ 1775194 w 2197742"/>
              <a:gd name="connsiteY1" fmla="*/ 1022175 h 1072912"/>
              <a:gd name="connsiteX2" fmla="*/ 1059919 w 2197742"/>
              <a:gd name="connsiteY2" fmla="*/ 657113 h 1072912"/>
              <a:gd name="connsiteX3" fmla="*/ 266063 w 2197742"/>
              <a:gd name="connsiteY3" fmla="*/ 532125 h 1072912"/>
              <a:gd name="connsiteX4" fmla="*/ 0 w 2197742"/>
              <a:gd name="connsiteY4" fmla="*/ 266063 h 1072912"/>
              <a:gd name="connsiteX5" fmla="*/ 266063 w 2197742"/>
              <a:gd name="connsiteY5" fmla="*/ 0 h 1072912"/>
              <a:gd name="connsiteX6" fmla="*/ 1223888 w 2197742"/>
              <a:gd name="connsiteY6" fmla="*/ 150975 h 1072912"/>
              <a:gd name="connsiteX7" fmla="*/ 2088281 w 2197742"/>
              <a:gd name="connsiteY7" fmla="*/ 592144 h 1072912"/>
              <a:gd name="connsiteX8" fmla="*/ 2147063 w 2197742"/>
              <a:gd name="connsiteY8" fmla="*/ 964012 h 1072912"/>
              <a:gd name="connsiteX9" fmla="*/ 1931738 w 2197742"/>
              <a:gd name="connsiteY9" fmla="*/ 1072913 h 107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97742" h="1072912">
                <a:moveTo>
                  <a:pt x="1931738" y="1072913"/>
                </a:moveTo>
                <a:cubicBezTo>
                  <a:pt x="1877288" y="1072913"/>
                  <a:pt x="1822838" y="1056206"/>
                  <a:pt x="1775194" y="1022175"/>
                </a:cubicBezTo>
                <a:cubicBezTo>
                  <a:pt x="1556775" y="863156"/>
                  <a:pt x="1316081" y="740025"/>
                  <a:pt x="1059919" y="657113"/>
                </a:cubicBezTo>
                <a:cubicBezTo>
                  <a:pt x="804375" y="574200"/>
                  <a:pt x="537694" y="532125"/>
                  <a:pt x="266063" y="532125"/>
                </a:cubicBezTo>
                <a:cubicBezTo>
                  <a:pt x="119419" y="532125"/>
                  <a:pt x="0" y="412706"/>
                  <a:pt x="0" y="266063"/>
                </a:cubicBezTo>
                <a:cubicBezTo>
                  <a:pt x="0" y="119419"/>
                  <a:pt x="119419" y="0"/>
                  <a:pt x="266063" y="0"/>
                </a:cubicBezTo>
                <a:cubicBezTo>
                  <a:pt x="593381" y="0"/>
                  <a:pt x="915750" y="50737"/>
                  <a:pt x="1223888" y="150975"/>
                </a:cubicBezTo>
                <a:cubicBezTo>
                  <a:pt x="1533263" y="251213"/>
                  <a:pt x="1824075" y="399713"/>
                  <a:pt x="2088281" y="592144"/>
                </a:cubicBezTo>
                <a:cubicBezTo>
                  <a:pt x="2207082" y="678769"/>
                  <a:pt x="2233069" y="845213"/>
                  <a:pt x="2147063" y="964012"/>
                </a:cubicBezTo>
                <a:cubicBezTo>
                  <a:pt x="2095088" y="1035169"/>
                  <a:pt x="2014031" y="1072913"/>
                  <a:pt x="1931738" y="1072913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Graphic 6">
            <a:extLst>
              <a:ext uri="{FF2B5EF4-FFF2-40B4-BE49-F238E27FC236}">
                <a16:creationId xmlns:a16="http://schemas.microsoft.com/office/drawing/2014/main" id="{1EA9CE54-28D7-4249-AC89-C36183AFEA86}"/>
              </a:ext>
            </a:extLst>
          </p:cNvPr>
          <p:cNvSpPr/>
          <p:nvPr/>
        </p:nvSpPr>
        <p:spPr>
          <a:xfrm>
            <a:off x="6447696" y="869639"/>
            <a:ext cx="1562811" cy="1949273"/>
          </a:xfrm>
          <a:custGeom>
            <a:avLst/>
            <a:gdLst>
              <a:gd name="connsiteX0" fmla="*/ 266320 w 1562811"/>
              <a:gd name="connsiteY0" fmla="*/ 1949273 h 1949273"/>
              <a:gd name="connsiteX1" fmla="*/ 184026 w 1562811"/>
              <a:gd name="connsiteY1" fmla="*/ 1936279 h 1949273"/>
              <a:gd name="connsiteX2" fmla="*/ 13251 w 1562811"/>
              <a:gd name="connsiteY2" fmla="*/ 1600917 h 1949273"/>
              <a:gd name="connsiteX3" fmla="*/ 454420 w 1562811"/>
              <a:gd name="connsiteY3" fmla="*/ 736523 h 1949273"/>
              <a:gd name="connsiteX4" fmla="*/ 1139995 w 1562811"/>
              <a:gd name="connsiteY4" fmla="*/ 50948 h 1949273"/>
              <a:gd name="connsiteX5" fmla="*/ 1511864 w 1562811"/>
              <a:gd name="connsiteY5" fmla="*/ 109729 h 1949273"/>
              <a:gd name="connsiteX6" fmla="*/ 1453082 w 1562811"/>
              <a:gd name="connsiteY6" fmla="*/ 481598 h 1949273"/>
              <a:gd name="connsiteX7" fmla="*/ 884451 w 1562811"/>
              <a:gd name="connsiteY7" fmla="*/ 1050229 h 1949273"/>
              <a:gd name="connsiteX8" fmla="*/ 519389 w 1562811"/>
              <a:gd name="connsiteY8" fmla="*/ 1765504 h 1949273"/>
              <a:gd name="connsiteX9" fmla="*/ 266320 w 1562811"/>
              <a:gd name="connsiteY9" fmla="*/ 1949273 h 19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62811" h="1949273">
                <a:moveTo>
                  <a:pt x="266320" y="1949273"/>
                </a:moveTo>
                <a:cubicBezTo>
                  <a:pt x="239095" y="1949273"/>
                  <a:pt x="211251" y="1944942"/>
                  <a:pt x="184026" y="1936279"/>
                </a:cubicBezTo>
                <a:cubicBezTo>
                  <a:pt x="44188" y="1891110"/>
                  <a:pt x="-32536" y="1740754"/>
                  <a:pt x="13251" y="1600917"/>
                </a:cubicBezTo>
                <a:cubicBezTo>
                  <a:pt x="113489" y="1291542"/>
                  <a:pt x="261989" y="1000729"/>
                  <a:pt x="454420" y="736523"/>
                </a:cubicBezTo>
                <a:cubicBezTo>
                  <a:pt x="646232" y="472935"/>
                  <a:pt x="876407" y="242760"/>
                  <a:pt x="1139995" y="50948"/>
                </a:cubicBezTo>
                <a:cubicBezTo>
                  <a:pt x="1258795" y="-35677"/>
                  <a:pt x="1425239" y="-9071"/>
                  <a:pt x="1511864" y="109729"/>
                </a:cubicBezTo>
                <a:cubicBezTo>
                  <a:pt x="1598489" y="228529"/>
                  <a:pt x="1571882" y="394973"/>
                  <a:pt x="1453082" y="481598"/>
                </a:cubicBezTo>
                <a:cubicBezTo>
                  <a:pt x="1234664" y="640617"/>
                  <a:pt x="1043470" y="831810"/>
                  <a:pt x="884451" y="1050229"/>
                </a:cubicBezTo>
                <a:cubicBezTo>
                  <a:pt x="725432" y="1268648"/>
                  <a:pt x="602301" y="1509342"/>
                  <a:pt x="519389" y="1765504"/>
                </a:cubicBezTo>
                <a:cubicBezTo>
                  <a:pt x="482882" y="1878117"/>
                  <a:pt x="378314" y="1949273"/>
                  <a:pt x="266320" y="1949273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Graphic 6">
            <a:extLst>
              <a:ext uri="{FF2B5EF4-FFF2-40B4-BE49-F238E27FC236}">
                <a16:creationId xmlns:a16="http://schemas.microsoft.com/office/drawing/2014/main" id="{329B7472-309C-455C-8D51-791C335BEEA7}"/>
              </a:ext>
            </a:extLst>
          </p:cNvPr>
          <p:cNvSpPr/>
          <p:nvPr/>
        </p:nvSpPr>
        <p:spPr>
          <a:xfrm>
            <a:off x="6447931" y="4038446"/>
            <a:ext cx="935164" cy="1322291"/>
          </a:xfrm>
          <a:custGeom>
            <a:avLst/>
            <a:gdLst>
              <a:gd name="connsiteX0" fmla="*/ 669510 w 935164"/>
              <a:gd name="connsiteY0" fmla="*/ 1322291 h 1322291"/>
              <a:gd name="connsiteX1" fmla="*/ 454185 w 935164"/>
              <a:gd name="connsiteY1" fmla="*/ 1212772 h 1322291"/>
              <a:gd name="connsiteX2" fmla="*/ 13016 w 935164"/>
              <a:gd name="connsiteY2" fmla="*/ 348379 h 1322291"/>
              <a:gd name="connsiteX3" fmla="*/ 183791 w 935164"/>
              <a:gd name="connsiteY3" fmla="*/ 13016 h 1322291"/>
              <a:gd name="connsiteX4" fmla="*/ 519154 w 935164"/>
              <a:gd name="connsiteY4" fmla="*/ 183791 h 1322291"/>
              <a:gd name="connsiteX5" fmla="*/ 884216 w 935164"/>
              <a:gd name="connsiteY5" fmla="*/ 899066 h 1322291"/>
              <a:gd name="connsiteX6" fmla="*/ 825435 w 935164"/>
              <a:gd name="connsiteY6" fmla="*/ 1270935 h 1322291"/>
              <a:gd name="connsiteX7" fmla="*/ 669510 w 935164"/>
              <a:gd name="connsiteY7" fmla="*/ 1322291 h 132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5164" h="1322291">
                <a:moveTo>
                  <a:pt x="669510" y="1322291"/>
                </a:moveTo>
                <a:cubicBezTo>
                  <a:pt x="587216" y="1322291"/>
                  <a:pt x="506160" y="1284547"/>
                  <a:pt x="454185" y="1212772"/>
                </a:cubicBezTo>
                <a:cubicBezTo>
                  <a:pt x="261754" y="948566"/>
                  <a:pt x="113872" y="657754"/>
                  <a:pt x="13016" y="348379"/>
                </a:cubicBezTo>
                <a:cubicBezTo>
                  <a:pt x="-32153" y="208541"/>
                  <a:pt x="43953" y="58804"/>
                  <a:pt x="183791" y="13016"/>
                </a:cubicBezTo>
                <a:cubicBezTo>
                  <a:pt x="323629" y="-32153"/>
                  <a:pt x="473366" y="43953"/>
                  <a:pt x="519154" y="183791"/>
                </a:cubicBezTo>
                <a:cubicBezTo>
                  <a:pt x="602066" y="439953"/>
                  <a:pt x="725197" y="680647"/>
                  <a:pt x="884216" y="899066"/>
                </a:cubicBezTo>
                <a:cubicBezTo>
                  <a:pt x="970841" y="1017866"/>
                  <a:pt x="944235" y="1184310"/>
                  <a:pt x="825435" y="1270935"/>
                </a:cubicBezTo>
                <a:cubicBezTo>
                  <a:pt x="778410" y="1306204"/>
                  <a:pt x="723960" y="1322291"/>
                  <a:pt x="669510" y="1322291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Graphic 6">
            <a:extLst>
              <a:ext uri="{FF2B5EF4-FFF2-40B4-BE49-F238E27FC236}">
                <a16:creationId xmlns:a16="http://schemas.microsoft.com/office/drawing/2014/main" id="{8F8B30FD-E3E1-4208-A464-1CDDD5B8FF75}"/>
              </a:ext>
            </a:extLst>
          </p:cNvPr>
          <p:cNvSpPr/>
          <p:nvPr/>
        </p:nvSpPr>
        <p:spPr>
          <a:xfrm>
            <a:off x="7478229" y="5455463"/>
            <a:ext cx="2197742" cy="1073473"/>
          </a:xfrm>
          <a:custGeom>
            <a:avLst/>
            <a:gdLst>
              <a:gd name="connsiteX0" fmla="*/ 1931680 w 2197742"/>
              <a:gd name="connsiteY0" fmla="*/ 1073474 h 1073473"/>
              <a:gd name="connsiteX1" fmla="*/ 973855 w 2197742"/>
              <a:gd name="connsiteY1" fmla="*/ 922499 h 1073473"/>
              <a:gd name="connsiteX2" fmla="*/ 109461 w 2197742"/>
              <a:gd name="connsiteY2" fmla="*/ 481330 h 1073473"/>
              <a:gd name="connsiteX3" fmla="*/ 50680 w 2197742"/>
              <a:gd name="connsiteY3" fmla="*/ 109461 h 1073473"/>
              <a:gd name="connsiteX4" fmla="*/ 422549 w 2197742"/>
              <a:gd name="connsiteY4" fmla="*/ 50680 h 1073473"/>
              <a:gd name="connsiteX5" fmla="*/ 1137824 w 2197742"/>
              <a:gd name="connsiteY5" fmla="*/ 415742 h 1073473"/>
              <a:gd name="connsiteX6" fmla="*/ 1931680 w 2197742"/>
              <a:gd name="connsiteY6" fmla="*/ 540730 h 1073473"/>
              <a:gd name="connsiteX7" fmla="*/ 2197743 w 2197742"/>
              <a:gd name="connsiteY7" fmla="*/ 806793 h 1073473"/>
              <a:gd name="connsiteX8" fmla="*/ 1931680 w 2197742"/>
              <a:gd name="connsiteY8" fmla="*/ 1073474 h 1073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7742" h="1073473">
                <a:moveTo>
                  <a:pt x="1931680" y="1073474"/>
                </a:moveTo>
                <a:cubicBezTo>
                  <a:pt x="1604361" y="1073474"/>
                  <a:pt x="1281993" y="1022737"/>
                  <a:pt x="973855" y="922499"/>
                </a:cubicBezTo>
                <a:cubicBezTo>
                  <a:pt x="664480" y="822261"/>
                  <a:pt x="373668" y="673761"/>
                  <a:pt x="109461" y="481330"/>
                </a:cubicBezTo>
                <a:cubicBezTo>
                  <a:pt x="-9339" y="394705"/>
                  <a:pt x="-35326" y="228261"/>
                  <a:pt x="50680" y="109461"/>
                </a:cubicBezTo>
                <a:cubicBezTo>
                  <a:pt x="137305" y="-9339"/>
                  <a:pt x="303749" y="-35326"/>
                  <a:pt x="422549" y="50680"/>
                </a:cubicBezTo>
                <a:cubicBezTo>
                  <a:pt x="640968" y="209699"/>
                  <a:pt x="881661" y="332830"/>
                  <a:pt x="1137824" y="415742"/>
                </a:cubicBezTo>
                <a:cubicBezTo>
                  <a:pt x="1393368" y="498655"/>
                  <a:pt x="1660049" y="540730"/>
                  <a:pt x="1931680" y="540730"/>
                </a:cubicBezTo>
                <a:cubicBezTo>
                  <a:pt x="2078324" y="540730"/>
                  <a:pt x="2197743" y="660149"/>
                  <a:pt x="2197743" y="806793"/>
                </a:cubicBezTo>
                <a:cubicBezTo>
                  <a:pt x="2197743" y="953436"/>
                  <a:pt x="2078324" y="1073474"/>
                  <a:pt x="1931680" y="1073474"/>
                </a:cubicBezTo>
                <a:close/>
              </a:path>
            </a:pathLst>
          </a:custGeom>
          <a:noFill/>
          <a:ln w="15875" cap="flat">
            <a:solidFill>
              <a:srgbClr val="D1D5E6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Graphic 6">
            <a:extLst>
              <a:ext uri="{FF2B5EF4-FFF2-40B4-BE49-F238E27FC236}">
                <a16:creationId xmlns:a16="http://schemas.microsoft.com/office/drawing/2014/main" id="{7CE09225-5C6D-4AF7-8811-059B0A4621EA}"/>
              </a:ext>
            </a:extLst>
          </p:cNvPr>
          <p:cNvSpPr/>
          <p:nvPr/>
        </p:nvSpPr>
        <p:spPr>
          <a:xfrm>
            <a:off x="12292723" y="1960065"/>
            <a:ext cx="1275186" cy="4022515"/>
          </a:xfrm>
          <a:custGeom>
            <a:avLst/>
            <a:gdLst>
              <a:gd name="connsiteX0" fmla="*/ 266005 w 1275186"/>
              <a:gd name="connsiteY0" fmla="*/ 4022516 h 4022515"/>
              <a:gd name="connsiteX1" fmla="*/ 109461 w 1275186"/>
              <a:gd name="connsiteY1" fmla="*/ 3971779 h 4022515"/>
              <a:gd name="connsiteX2" fmla="*/ 50680 w 1275186"/>
              <a:gd name="connsiteY2" fmla="*/ 3599910 h 4022515"/>
              <a:gd name="connsiteX3" fmla="*/ 566099 w 1275186"/>
              <a:gd name="connsiteY3" fmla="*/ 2589491 h 4022515"/>
              <a:gd name="connsiteX4" fmla="*/ 742443 w 1275186"/>
              <a:gd name="connsiteY4" fmla="*/ 1468935 h 4022515"/>
              <a:gd name="connsiteX5" fmla="*/ 566099 w 1275186"/>
              <a:gd name="connsiteY5" fmla="*/ 348378 h 4022515"/>
              <a:gd name="connsiteX6" fmla="*/ 736874 w 1275186"/>
              <a:gd name="connsiteY6" fmla="*/ 13016 h 4022515"/>
              <a:gd name="connsiteX7" fmla="*/ 1072236 w 1275186"/>
              <a:gd name="connsiteY7" fmla="*/ 183791 h 4022515"/>
              <a:gd name="connsiteX8" fmla="*/ 1275187 w 1275186"/>
              <a:gd name="connsiteY8" fmla="*/ 1468935 h 4022515"/>
              <a:gd name="connsiteX9" fmla="*/ 1072856 w 1275186"/>
              <a:gd name="connsiteY9" fmla="*/ 2754079 h 4022515"/>
              <a:gd name="connsiteX10" fmla="*/ 481330 w 1275186"/>
              <a:gd name="connsiteY10" fmla="*/ 3912997 h 4022515"/>
              <a:gd name="connsiteX11" fmla="*/ 266005 w 1275186"/>
              <a:gd name="connsiteY11" fmla="*/ 4022516 h 4022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186" h="4022515">
                <a:moveTo>
                  <a:pt x="266005" y="4022516"/>
                </a:moveTo>
                <a:cubicBezTo>
                  <a:pt x="211555" y="4022516"/>
                  <a:pt x="157105" y="4005810"/>
                  <a:pt x="109461" y="3971779"/>
                </a:cubicBezTo>
                <a:cubicBezTo>
                  <a:pt x="-9338" y="3885154"/>
                  <a:pt x="-35326" y="3718710"/>
                  <a:pt x="50680" y="3599910"/>
                </a:cubicBezTo>
                <a:cubicBezTo>
                  <a:pt x="275287" y="3291154"/>
                  <a:pt x="449155" y="2951460"/>
                  <a:pt x="566099" y="2589491"/>
                </a:cubicBezTo>
                <a:cubicBezTo>
                  <a:pt x="683043" y="2228760"/>
                  <a:pt x="742443" y="1851941"/>
                  <a:pt x="742443" y="1468935"/>
                </a:cubicBezTo>
                <a:cubicBezTo>
                  <a:pt x="742443" y="1085928"/>
                  <a:pt x="683043" y="708491"/>
                  <a:pt x="566099" y="348378"/>
                </a:cubicBezTo>
                <a:cubicBezTo>
                  <a:pt x="520930" y="208541"/>
                  <a:pt x="597037" y="58803"/>
                  <a:pt x="736874" y="13016"/>
                </a:cubicBezTo>
                <a:cubicBezTo>
                  <a:pt x="876711" y="-32153"/>
                  <a:pt x="1026449" y="43954"/>
                  <a:pt x="1072236" y="183791"/>
                </a:cubicBezTo>
                <a:cubicBezTo>
                  <a:pt x="1207124" y="597735"/>
                  <a:pt x="1275187" y="1030241"/>
                  <a:pt x="1275187" y="1468935"/>
                </a:cubicBezTo>
                <a:cubicBezTo>
                  <a:pt x="1275187" y="1907629"/>
                  <a:pt x="1207124" y="2340135"/>
                  <a:pt x="1072856" y="2754079"/>
                </a:cubicBezTo>
                <a:cubicBezTo>
                  <a:pt x="937968" y="3169260"/>
                  <a:pt x="739349" y="3559072"/>
                  <a:pt x="481330" y="3912997"/>
                </a:cubicBezTo>
                <a:cubicBezTo>
                  <a:pt x="429356" y="3984772"/>
                  <a:pt x="348299" y="4022516"/>
                  <a:pt x="266005" y="4022516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Graphic 6">
            <a:extLst>
              <a:ext uri="{FF2B5EF4-FFF2-40B4-BE49-F238E27FC236}">
                <a16:creationId xmlns:a16="http://schemas.microsoft.com/office/drawing/2014/main" id="{E038AA9E-8D22-4829-9DEC-ADC1592F51B9}"/>
              </a:ext>
            </a:extLst>
          </p:cNvPr>
          <p:cNvSpPr/>
          <p:nvPr/>
        </p:nvSpPr>
        <p:spPr>
          <a:xfrm>
            <a:off x="6856117" y="-729000"/>
            <a:ext cx="5107315" cy="1275243"/>
          </a:xfrm>
          <a:custGeom>
            <a:avLst/>
            <a:gdLst>
              <a:gd name="connsiteX0" fmla="*/ 4841311 w 5107315"/>
              <a:gd name="connsiteY0" fmla="*/ 1275244 h 1275243"/>
              <a:gd name="connsiteX1" fmla="*/ 4684767 w 5107315"/>
              <a:gd name="connsiteY1" fmla="*/ 1224506 h 1275243"/>
              <a:gd name="connsiteX2" fmla="*/ 3674348 w 5107315"/>
              <a:gd name="connsiteY2" fmla="*/ 709088 h 1275243"/>
              <a:gd name="connsiteX3" fmla="*/ 2553792 w 5107315"/>
              <a:gd name="connsiteY3" fmla="*/ 532125 h 1275243"/>
              <a:gd name="connsiteX4" fmla="*/ 1433236 w 5107315"/>
              <a:gd name="connsiteY4" fmla="*/ 708469 h 1275243"/>
              <a:gd name="connsiteX5" fmla="*/ 422817 w 5107315"/>
              <a:gd name="connsiteY5" fmla="*/ 1223888 h 1275243"/>
              <a:gd name="connsiteX6" fmla="*/ 50948 w 5107315"/>
              <a:gd name="connsiteY6" fmla="*/ 1165106 h 1275243"/>
              <a:gd name="connsiteX7" fmla="*/ 109729 w 5107315"/>
              <a:gd name="connsiteY7" fmla="*/ 793238 h 1275243"/>
              <a:gd name="connsiteX8" fmla="*/ 1268648 w 5107315"/>
              <a:gd name="connsiteY8" fmla="*/ 201712 h 1275243"/>
              <a:gd name="connsiteX9" fmla="*/ 2553792 w 5107315"/>
              <a:gd name="connsiteY9" fmla="*/ 0 h 1275243"/>
              <a:gd name="connsiteX10" fmla="*/ 3838936 w 5107315"/>
              <a:gd name="connsiteY10" fmla="*/ 202331 h 1275243"/>
              <a:gd name="connsiteX11" fmla="*/ 4997855 w 5107315"/>
              <a:gd name="connsiteY11" fmla="*/ 793856 h 1275243"/>
              <a:gd name="connsiteX12" fmla="*/ 5056636 w 5107315"/>
              <a:gd name="connsiteY12" fmla="*/ 1165725 h 1275243"/>
              <a:gd name="connsiteX13" fmla="*/ 4841311 w 5107315"/>
              <a:gd name="connsiteY13" fmla="*/ 1275244 h 1275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107315" h="1275243">
                <a:moveTo>
                  <a:pt x="4841311" y="1275244"/>
                </a:moveTo>
                <a:cubicBezTo>
                  <a:pt x="4786861" y="1275244"/>
                  <a:pt x="4732411" y="1258538"/>
                  <a:pt x="4684767" y="1224506"/>
                </a:cubicBezTo>
                <a:cubicBezTo>
                  <a:pt x="4376011" y="999900"/>
                  <a:pt x="4036317" y="826031"/>
                  <a:pt x="3674348" y="709088"/>
                </a:cubicBezTo>
                <a:cubicBezTo>
                  <a:pt x="3314236" y="591525"/>
                  <a:pt x="2936798" y="532125"/>
                  <a:pt x="2553792" y="532125"/>
                </a:cubicBezTo>
                <a:cubicBezTo>
                  <a:pt x="2170786" y="532125"/>
                  <a:pt x="1793348" y="591525"/>
                  <a:pt x="1433236" y="708469"/>
                </a:cubicBezTo>
                <a:cubicBezTo>
                  <a:pt x="1071886" y="826031"/>
                  <a:pt x="731573" y="999281"/>
                  <a:pt x="422817" y="1223888"/>
                </a:cubicBezTo>
                <a:cubicBezTo>
                  <a:pt x="304017" y="1310513"/>
                  <a:pt x="137573" y="1283906"/>
                  <a:pt x="50948" y="1165106"/>
                </a:cubicBezTo>
                <a:cubicBezTo>
                  <a:pt x="-35677" y="1046306"/>
                  <a:pt x="-9071" y="879863"/>
                  <a:pt x="109729" y="793238"/>
                </a:cubicBezTo>
                <a:cubicBezTo>
                  <a:pt x="463654" y="535219"/>
                  <a:pt x="854085" y="336600"/>
                  <a:pt x="1268648" y="201712"/>
                </a:cubicBezTo>
                <a:cubicBezTo>
                  <a:pt x="1682592" y="68063"/>
                  <a:pt x="2115098" y="0"/>
                  <a:pt x="2553792" y="0"/>
                </a:cubicBezTo>
                <a:cubicBezTo>
                  <a:pt x="2992486" y="0"/>
                  <a:pt x="3424992" y="68063"/>
                  <a:pt x="3838936" y="202331"/>
                </a:cubicBezTo>
                <a:cubicBezTo>
                  <a:pt x="4254117" y="337219"/>
                  <a:pt x="4643930" y="535838"/>
                  <a:pt x="4997855" y="793856"/>
                </a:cubicBezTo>
                <a:cubicBezTo>
                  <a:pt x="5116654" y="880481"/>
                  <a:pt x="5142642" y="1046925"/>
                  <a:pt x="5056636" y="1165725"/>
                </a:cubicBezTo>
                <a:cubicBezTo>
                  <a:pt x="5004661" y="1237500"/>
                  <a:pt x="4923605" y="1275244"/>
                  <a:pt x="4841311" y="1275244"/>
                </a:cubicBezTo>
                <a:close/>
              </a:path>
            </a:pathLst>
          </a:custGeom>
          <a:solidFill>
            <a:schemeClr val="tx2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Graphic 6">
            <a:extLst>
              <a:ext uri="{FF2B5EF4-FFF2-40B4-BE49-F238E27FC236}">
                <a16:creationId xmlns:a16="http://schemas.microsoft.com/office/drawing/2014/main" id="{C8012D67-BBD7-43B2-B37A-18A31D521B76}"/>
              </a:ext>
            </a:extLst>
          </p:cNvPr>
          <p:cNvSpPr/>
          <p:nvPr/>
        </p:nvSpPr>
        <p:spPr>
          <a:xfrm>
            <a:off x="5251909" y="1959830"/>
            <a:ext cx="721719" cy="2938082"/>
          </a:xfrm>
          <a:custGeom>
            <a:avLst/>
            <a:gdLst>
              <a:gd name="connsiteX0" fmla="*/ 455400 w 721719"/>
              <a:gd name="connsiteY0" fmla="*/ 2938083 h 2938082"/>
              <a:gd name="connsiteX1" fmla="*/ 202331 w 721719"/>
              <a:gd name="connsiteY1" fmla="*/ 2754314 h 2938082"/>
              <a:gd name="connsiteX2" fmla="*/ 0 w 721719"/>
              <a:gd name="connsiteY2" fmla="*/ 1469170 h 2938082"/>
              <a:gd name="connsiteX3" fmla="*/ 202331 w 721719"/>
              <a:gd name="connsiteY3" fmla="*/ 184026 h 2938082"/>
              <a:gd name="connsiteX4" fmla="*/ 537694 w 721719"/>
              <a:gd name="connsiteY4" fmla="*/ 13251 h 2938082"/>
              <a:gd name="connsiteX5" fmla="*/ 708469 w 721719"/>
              <a:gd name="connsiteY5" fmla="*/ 348613 h 2938082"/>
              <a:gd name="connsiteX6" fmla="*/ 532125 w 721719"/>
              <a:gd name="connsiteY6" fmla="*/ 1469170 h 2938082"/>
              <a:gd name="connsiteX7" fmla="*/ 708469 w 721719"/>
              <a:gd name="connsiteY7" fmla="*/ 2589726 h 2938082"/>
              <a:gd name="connsiteX8" fmla="*/ 537694 w 721719"/>
              <a:gd name="connsiteY8" fmla="*/ 2925089 h 2938082"/>
              <a:gd name="connsiteX9" fmla="*/ 455400 w 721719"/>
              <a:gd name="connsiteY9" fmla="*/ 2938083 h 293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1719" h="2938082">
                <a:moveTo>
                  <a:pt x="455400" y="2938083"/>
                </a:moveTo>
                <a:cubicBezTo>
                  <a:pt x="343406" y="2938083"/>
                  <a:pt x="238838" y="2866307"/>
                  <a:pt x="202331" y="2754314"/>
                </a:cubicBezTo>
                <a:cubicBezTo>
                  <a:pt x="68063" y="2340370"/>
                  <a:pt x="0" y="1907864"/>
                  <a:pt x="0" y="1469170"/>
                </a:cubicBezTo>
                <a:cubicBezTo>
                  <a:pt x="0" y="1030476"/>
                  <a:pt x="68063" y="597970"/>
                  <a:pt x="202331" y="184026"/>
                </a:cubicBezTo>
                <a:cubicBezTo>
                  <a:pt x="247500" y="44189"/>
                  <a:pt x="397856" y="-32537"/>
                  <a:pt x="537694" y="13251"/>
                </a:cubicBezTo>
                <a:cubicBezTo>
                  <a:pt x="677531" y="58420"/>
                  <a:pt x="754256" y="208776"/>
                  <a:pt x="708469" y="348613"/>
                </a:cubicBezTo>
                <a:cubicBezTo>
                  <a:pt x="591525" y="708726"/>
                  <a:pt x="532125" y="1086163"/>
                  <a:pt x="532125" y="1469170"/>
                </a:cubicBezTo>
                <a:cubicBezTo>
                  <a:pt x="532125" y="1852176"/>
                  <a:pt x="591525" y="2229614"/>
                  <a:pt x="708469" y="2589726"/>
                </a:cubicBezTo>
                <a:cubicBezTo>
                  <a:pt x="753638" y="2729564"/>
                  <a:pt x="677531" y="2879301"/>
                  <a:pt x="537694" y="2925089"/>
                </a:cubicBezTo>
                <a:cubicBezTo>
                  <a:pt x="510469" y="2934370"/>
                  <a:pt x="482625" y="2938083"/>
                  <a:pt x="455400" y="2938083"/>
                </a:cubicBezTo>
                <a:close/>
              </a:path>
            </a:pathLst>
          </a:custGeom>
          <a:noFill/>
          <a:ln w="15875" cap="flat">
            <a:solidFill>
              <a:srgbClr val="D1D5E6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Graphic 6">
            <a:extLst>
              <a:ext uri="{FF2B5EF4-FFF2-40B4-BE49-F238E27FC236}">
                <a16:creationId xmlns:a16="http://schemas.microsoft.com/office/drawing/2014/main" id="{09A0ABD0-6607-4169-BE7A-9AC2FB86863C}"/>
              </a:ext>
            </a:extLst>
          </p:cNvPr>
          <p:cNvSpPr/>
          <p:nvPr/>
        </p:nvSpPr>
        <p:spPr>
          <a:xfrm>
            <a:off x="5995436" y="5450864"/>
            <a:ext cx="4884026" cy="2136135"/>
          </a:xfrm>
          <a:custGeom>
            <a:avLst/>
            <a:gdLst>
              <a:gd name="connsiteX0" fmla="*/ 3414473 w 4884026"/>
              <a:gd name="connsiteY0" fmla="*/ 2136136 h 2136135"/>
              <a:gd name="connsiteX1" fmla="*/ 2129329 w 4884026"/>
              <a:gd name="connsiteY1" fmla="*/ 1933805 h 2136135"/>
              <a:gd name="connsiteX2" fmla="*/ 970411 w 4884026"/>
              <a:gd name="connsiteY2" fmla="*/ 1342279 h 2136135"/>
              <a:gd name="connsiteX3" fmla="*/ 50948 w 4884026"/>
              <a:gd name="connsiteY3" fmla="*/ 422817 h 2136135"/>
              <a:gd name="connsiteX4" fmla="*/ 109729 w 4884026"/>
              <a:gd name="connsiteY4" fmla="*/ 50948 h 2136135"/>
              <a:gd name="connsiteX5" fmla="*/ 481598 w 4884026"/>
              <a:gd name="connsiteY5" fmla="*/ 109729 h 2136135"/>
              <a:gd name="connsiteX6" fmla="*/ 1284117 w 4884026"/>
              <a:gd name="connsiteY6" fmla="*/ 912248 h 2136135"/>
              <a:gd name="connsiteX7" fmla="*/ 2294536 w 4884026"/>
              <a:gd name="connsiteY7" fmla="*/ 1427667 h 2136135"/>
              <a:gd name="connsiteX8" fmla="*/ 3415092 w 4884026"/>
              <a:gd name="connsiteY8" fmla="*/ 1604011 h 2136135"/>
              <a:gd name="connsiteX9" fmla="*/ 4535649 w 4884026"/>
              <a:gd name="connsiteY9" fmla="*/ 1427667 h 2136135"/>
              <a:gd name="connsiteX10" fmla="*/ 4871011 w 4884026"/>
              <a:gd name="connsiteY10" fmla="*/ 1598442 h 2136135"/>
              <a:gd name="connsiteX11" fmla="*/ 4700236 w 4884026"/>
              <a:gd name="connsiteY11" fmla="*/ 1933805 h 2136135"/>
              <a:gd name="connsiteX12" fmla="*/ 3414473 w 4884026"/>
              <a:gd name="connsiteY12" fmla="*/ 2136136 h 2136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84026" h="2136135">
                <a:moveTo>
                  <a:pt x="3414473" y="2136136"/>
                </a:moveTo>
                <a:cubicBezTo>
                  <a:pt x="2975779" y="2136136"/>
                  <a:pt x="2543273" y="2068073"/>
                  <a:pt x="2129329" y="1933805"/>
                </a:cubicBezTo>
                <a:cubicBezTo>
                  <a:pt x="1714148" y="1798917"/>
                  <a:pt x="1324336" y="1600298"/>
                  <a:pt x="970411" y="1342279"/>
                </a:cubicBezTo>
                <a:cubicBezTo>
                  <a:pt x="617104" y="1085498"/>
                  <a:pt x="307729" y="776123"/>
                  <a:pt x="50948" y="422817"/>
                </a:cubicBezTo>
                <a:cubicBezTo>
                  <a:pt x="-35677" y="304017"/>
                  <a:pt x="-9071" y="137573"/>
                  <a:pt x="109729" y="50948"/>
                </a:cubicBezTo>
                <a:cubicBezTo>
                  <a:pt x="228529" y="-35677"/>
                  <a:pt x="394973" y="-9071"/>
                  <a:pt x="481598" y="109729"/>
                </a:cubicBezTo>
                <a:cubicBezTo>
                  <a:pt x="706204" y="417867"/>
                  <a:pt x="975979" y="687642"/>
                  <a:pt x="1284117" y="912248"/>
                </a:cubicBezTo>
                <a:cubicBezTo>
                  <a:pt x="1592873" y="1136854"/>
                  <a:pt x="1932567" y="1310723"/>
                  <a:pt x="2294536" y="1427667"/>
                </a:cubicBezTo>
                <a:cubicBezTo>
                  <a:pt x="2655267" y="1544611"/>
                  <a:pt x="3032086" y="1604011"/>
                  <a:pt x="3415092" y="1604011"/>
                </a:cubicBezTo>
                <a:cubicBezTo>
                  <a:pt x="3798098" y="1604011"/>
                  <a:pt x="4175536" y="1544611"/>
                  <a:pt x="4535649" y="1427667"/>
                </a:cubicBezTo>
                <a:cubicBezTo>
                  <a:pt x="4675486" y="1382498"/>
                  <a:pt x="4825223" y="1458604"/>
                  <a:pt x="4871011" y="1598442"/>
                </a:cubicBezTo>
                <a:cubicBezTo>
                  <a:pt x="4916180" y="1738279"/>
                  <a:pt x="4840074" y="1888017"/>
                  <a:pt x="4700236" y="1933805"/>
                </a:cubicBezTo>
                <a:cubicBezTo>
                  <a:pt x="4285673" y="2068073"/>
                  <a:pt x="3853167" y="2136136"/>
                  <a:pt x="3414473" y="2136136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Graphic 6">
            <a:extLst>
              <a:ext uri="{FF2B5EF4-FFF2-40B4-BE49-F238E27FC236}">
                <a16:creationId xmlns:a16="http://schemas.microsoft.com/office/drawing/2014/main" id="{05247D60-B3EB-4B79-8456-2079F5FF9A68}"/>
              </a:ext>
            </a:extLst>
          </p:cNvPr>
          <p:cNvSpPr/>
          <p:nvPr/>
        </p:nvSpPr>
        <p:spPr>
          <a:xfrm>
            <a:off x="6309972" y="3162937"/>
            <a:ext cx="532125" cy="532125"/>
          </a:xfrm>
          <a:custGeom>
            <a:avLst/>
            <a:gdLst>
              <a:gd name="connsiteX0" fmla="*/ 532125 w 532125"/>
              <a:gd name="connsiteY0" fmla="*/ 266063 h 532125"/>
              <a:gd name="connsiteX1" fmla="*/ 266063 w 532125"/>
              <a:gd name="connsiteY1" fmla="*/ 532125 h 532125"/>
              <a:gd name="connsiteX2" fmla="*/ 0 w 532125"/>
              <a:gd name="connsiteY2" fmla="*/ 266063 h 532125"/>
              <a:gd name="connsiteX3" fmla="*/ 266063 w 532125"/>
              <a:gd name="connsiteY3" fmla="*/ 0 h 532125"/>
              <a:gd name="connsiteX4" fmla="*/ 532125 w 532125"/>
              <a:gd name="connsiteY4" fmla="*/ 266063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3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3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3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Graphic 6">
            <a:extLst>
              <a:ext uri="{FF2B5EF4-FFF2-40B4-BE49-F238E27FC236}">
                <a16:creationId xmlns:a16="http://schemas.microsoft.com/office/drawing/2014/main" id="{FDE469FA-EA44-421C-97E0-BD156400EC41}"/>
              </a:ext>
            </a:extLst>
          </p:cNvPr>
          <p:cNvSpPr/>
          <p:nvPr/>
        </p:nvSpPr>
        <p:spPr>
          <a:xfrm>
            <a:off x="11436316" y="1497262"/>
            <a:ext cx="532125" cy="532125"/>
          </a:xfrm>
          <a:custGeom>
            <a:avLst/>
            <a:gdLst>
              <a:gd name="connsiteX0" fmla="*/ 532125 w 532125"/>
              <a:gd name="connsiteY0" fmla="*/ 266062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2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2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2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Graphic 6">
            <a:extLst>
              <a:ext uri="{FF2B5EF4-FFF2-40B4-BE49-F238E27FC236}">
                <a16:creationId xmlns:a16="http://schemas.microsoft.com/office/drawing/2014/main" id="{6833BC13-AA0F-4883-B0C6-7CD0AE30BC55}"/>
              </a:ext>
            </a:extLst>
          </p:cNvPr>
          <p:cNvSpPr/>
          <p:nvPr/>
        </p:nvSpPr>
        <p:spPr>
          <a:xfrm>
            <a:off x="8269553" y="457762"/>
            <a:ext cx="532125" cy="532125"/>
          </a:xfrm>
          <a:custGeom>
            <a:avLst/>
            <a:gdLst>
              <a:gd name="connsiteX0" fmla="*/ 532125 w 532125"/>
              <a:gd name="connsiteY0" fmla="*/ 266063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3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3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3"/>
                </a:cubicBezTo>
                <a:close/>
              </a:path>
            </a:pathLst>
          </a:custGeom>
          <a:solidFill>
            <a:srgbClr val="D1D5E6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Graphic 6">
            <a:extLst>
              <a:ext uri="{FF2B5EF4-FFF2-40B4-BE49-F238E27FC236}">
                <a16:creationId xmlns:a16="http://schemas.microsoft.com/office/drawing/2014/main" id="{4C54CC5E-06DA-4EE1-B442-B57738A4F188}"/>
              </a:ext>
            </a:extLst>
          </p:cNvPr>
          <p:cNvSpPr/>
          <p:nvPr/>
        </p:nvSpPr>
        <p:spPr>
          <a:xfrm>
            <a:off x="5995028" y="875418"/>
            <a:ext cx="532125" cy="532125"/>
          </a:xfrm>
          <a:custGeom>
            <a:avLst/>
            <a:gdLst>
              <a:gd name="connsiteX0" fmla="*/ 532125 w 532125"/>
              <a:gd name="connsiteY0" fmla="*/ 266062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2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2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2"/>
                </a:cubicBezTo>
                <a:close/>
              </a:path>
            </a:pathLst>
          </a:custGeom>
          <a:noFill/>
          <a:ln w="15875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6157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Color -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aphic 8">
            <a:extLst>
              <a:ext uri="{FF2B5EF4-FFF2-40B4-BE49-F238E27FC236}">
                <a16:creationId xmlns:a16="http://schemas.microsoft.com/office/drawing/2014/main" id="{726AEA4E-E270-4CAA-97F4-C7AD065F9D3A}"/>
              </a:ext>
            </a:extLst>
          </p:cNvPr>
          <p:cNvGrpSpPr/>
          <p:nvPr/>
        </p:nvGrpSpPr>
        <p:grpSpPr>
          <a:xfrm>
            <a:off x="4874388" y="-455826"/>
            <a:ext cx="7080367" cy="7769653"/>
            <a:chOff x="4874388" y="-455826"/>
            <a:chExt cx="7080367" cy="7769653"/>
          </a:xfrm>
        </p:grpSpPr>
        <p:sp>
          <p:nvSpPr>
            <p:cNvPr id="16" name="Graphic 8">
              <a:extLst>
                <a:ext uri="{FF2B5EF4-FFF2-40B4-BE49-F238E27FC236}">
                  <a16:creationId xmlns:a16="http://schemas.microsoft.com/office/drawing/2014/main" id="{7B97E23E-396F-4A53-AEF9-79F877255667}"/>
                </a:ext>
              </a:extLst>
            </p:cNvPr>
            <p:cNvSpPr/>
            <p:nvPr/>
          </p:nvSpPr>
          <p:spPr>
            <a:xfrm>
              <a:off x="10875650" y="2380137"/>
              <a:ext cx="667592" cy="2097702"/>
            </a:xfrm>
            <a:custGeom>
              <a:avLst/>
              <a:gdLst>
                <a:gd name="connsiteX0" fmla="*/ 272772 w 667592"/>
                <a:gd name="connsiteY0" fmla="*/ 2097703 h 2097702"/>
                <a:gd name="connsiteX1" fmla="*/ 188485 w 667592"/>
                <a:gd name="connsiteY1" fmla="*/ 2084394 h 2097702"/>
                <a:gd name="connsiteX2" fmla="*/ 13572 w 667592"/>
                <a:gd name="connsiteY2" fmla="*/ 1740907 h 2097702"/>
                <a:gd name="connsiteX3" fmla="*/ 122575 w 667592"/>
                <a:gd name="connsiteY3" fmla="*/ 1048863 h 2097702"/>
                <a:gd name="connsiteX4" fmla="*/ 13572 w 667592"/>
                <a:gd name="connsiteY4" fmla="*/ 356818 h 2097702"/>
                <a:gd name="connsiteX5" fmla="*/ 188485 w 667592"/>
                <a:gd name="connsiteY5" fmla="*/ 13331 h 2097702"/>
                <a:gd name="connsiteX6" fmla="*/ 531972 w 667592"/>
                <a:gd name="connsiteY6" fmla="*/ 188244 h 2097702"/>
                <a:gd name="connsiteX7" fmla="*/ 667593 w 667592"/>
                <a:gd name="connsiteY7" fmla="*/ 1048863 h 2097702"/>
                <a:gd name="connsiteX8" fmla="*/ 531972 w 667592"/>
                <a:gd name="connsiteY8" fmla="*/ 1909482 h 2097702"/>
                <a:gd name="connsiteX9" fmla="*/ 272772 w 667592"/>
                <a:gd name="connsiteY9" fmla="*/ 2097703 h 2097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7592" h="2097702">
                  <a:moveTo>
                    <a:pt x="272772" y="2097703"/>
                  </a:moveTo>
                  <a:cubicBezTo>
                    <a:pt x="244887" y="2097703"/>
                    <a:pt x="216369" y="2093266"/>
                    <a:pt x="188485" y="2084394"/>
                  </a:cubicBezTo>
                  <a:cubicBezTo>
                    <a:pt x="45259" y="2038131"/>
                    <a:pt x="-33325" y="1884132"/>
                    <a:pt x="13572" y="1740907"/>
                  </a:cubicBezTo>
                  <a:cubicBezTo>
                    <a:pt x="85819" y="1518464"/>
                    <a:pt x="122575" y="1285248"/>
                    <a:pt x="122575" y="1048863"/>
                  </a:cubicBezTo>
                  <a:cubicBezTo>
                    <a:pt x="122575" y="812478"/>
                    <a:pt x="85819" y="579261"/>
                    <a:pt x="13572" y="356818"/>
                  </a:cubicBezTo>
                  <a:cubicBezTo>
                    <a:pt x="-32691" y="213593"/>
                    <a:pt x="45259" y="60228"/>
                    <a:pt x="188485" y="13331"/>
                  </a:cubicBezTo>
                  <a:cubicBezTo>
                    <a:pt x="331710" y="-32932"/>
                    <a:pt x="485075" y="45018"/>
                    <a:pt x="531972" y="188244"/>
                  </a:cubicBezTo>
                  <a:cubicBezTo>
                    <a:pt x="621963" y="465188"/>
                    <a:pt x="667593" y="754807"/>
                    <a:pt x="667593" y="1048863"/>
                  </a:cubicBezTo>
                  <a:cubicBezTo>
                    <a:pt x="667593" y="1342918"/>
                    <a:pt x="621963" y="1631904"/>
                    <a:pt x="531972" y="1909482"/>
                  </a:cubicBezTo>
                  <a:cubicBezTo>
                    <a:pt x="494581" y="2024189"/>
                    <a:pt x="387479" y="2097703"/>
                    <a:pt x="272772" y="2097703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Graphic 8">
              <a:extLst>
                <a:ext uri="{FF2B5EF4-FFF2-40B4-BE49-F238E27FC236}">
                  <a16:creationId xmlns:a16="http://schemas.microsoft.com/office/drawing/2014/main" id="{EA9E52D6-31EF-4FA1-B7D9-EAA0154F5E8E}"/>
                </a:ext>
              </a:extLst>
            </p:cNvPr>
            <p:cNvSpPr/>
            <p:nvPr/>
          </p:nvSpPr>
          <p:spPr>
            <a:xfrm>
              <a:off x="6097244" y="1679936"/>
              <a:ext cx="902651" cy="1245240"/>
            </a:xfrm>
            <a:custGeom>
              <a:avLst/>
              <a:gdLst>
                <a:gd name="connsiteX0" fmla="*/ 272772 w 902651"/>
                <a:gd name="connsiteY0" fmla="*/ 1245241 h 1245240"/>
                <a:gd name="connsiteX1" fmla="*/ 188484 w 902651"/>
                <a:gd name="connsiteY1" fmla="*/ 1231932 h 1245240"/>
                <a:gd name="connsiteX2" fmla="*/ 13572 w 902651"/>
                <a:gd name="connsiteY2" fmla="*/ 888445 h 1245240"/>
                <a:gd name="connsiteX3" fmla="*/ 409660 w 902651"/>
                <a:gd name="connsiteY3" fmla="*/ 112113 h 1245240"/>
                <a:gd name="connsiteX4" fmla="*/ 790538 w 902651"/>
                <a:gd name="connsiteY4" fmla="*/ 51908 h 1245240"/>
                <a:gd name="connsiteX5" fmla="*/ 850744 w 902651"/>
                <a:gd name="connsiteY5" fmla="*/ 432786 h 1245240"/>
                <a:gd name="connsiteX6" fmla="*/ 532606 w 902651"/>
                <a:gd name="connsiteY6" fmla="*/ 1056386 h 1245240"/>
                <a:gd name="connsiteX7" fmla="*/ 272772 w 902651"/>
                <a:gd name="connsiteY7" fmla="*/ 1245241 h 124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2651" h="1245240">
                  <a:moveTo>
                    <a:pt x="272772" y="1245241"/>
                  </a:moveTo>
                  <a:cubicBezTo>
                    <a:pt x="244887" y="1245241"/>
                    <a:pt x="216369" y="1240804"/>
                    <a:pt x="188484" y="1231932"/>
                  </a:cubicBezTo>
                  <a:cubicBezTo>
                    <a:pt x="45259" y="1185669"/>
                    <a:pt x="-33325" y="1031670"/>
                    <a:pt x="13572" y="888445"/>
                  </a:cubicBezTo>
                  <a:cubicBezTo>
                    <a:pt x="103563" y="610233"/>
                    <a:pt x="237283" y="349132"/>
                    <a:pt x="409660" y="112113"/>
                  </a:cubicBezTo>
                  <a:cubicBezTo>
                    <a:pt x="498384" y="-9565"/>
                    <a:pt x="668860" y="-36182"/>
                    <a:pt x="790538" y="51908"/>
                  </a:cubicBezTo>
                  <a:cubicBezTo>
                    <a:pt x="912217" y="140632"/>
                    <a:pt x="938834" y="311108"/>
                    <a:pt x="850744" y="432786"/>
                  </a:cubicBezTo>
                  <a:cubicBezTo>
                    <a:pt x="711954" y="623541"/>
                    <a:pt x="604852" y="833309"/>
                    <a:pt x="532606" y="1056386"/>
                  </a:cubicBezTo>
                  <a:cubicBezTo>
                    <a:pt x="494581" y="1172360"/>
                    <a:pt x="387479" y="1245241"/>
                    <a:pt x="272772" y="1245241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Graphic 8">
              <a:extLst>
                <a:ext uri="{FF2B5EF4-FFF2-40B4-BE49-F238E27FC236}">
                  <a16:creationId xmlns:a16="http://schemas.microsoft.com/office/drawing/2014/main" id="{D249FE50-AD3F-4294-BCB6-BF9904692F2D}"/>
                </a:ext>
              </a:extLst>
            </p:cNvPr>
            <p:cNvSpPr/>
            <p:nvPr/>
          </p:nvSpPr>
          <p:spPr>
            <a:xfrm>
              <a:off x="6363463" y="-455826"/>
              <a:ext cx="5591292" cy="2033672"/>
            </a:xfrm>
            <a:custGeom>
              <a:avLst/>
              <a:gdLst>
                <a:gd name="connsiteX0" fmla="*/ 5318569 w 5591292"/>
                <a:gd name="connsiteY0" fmla="*/ 2033672 h 2033672"/>
                <a:gd name="connsiteX1" fmla="*/ 5098027 w 5591292"/>
                <a:gd name="connsiteY1" fmla="*/ 1921500 h 2033672"/>
                <a:gd name="connsiteX2" fmla="*/ 4359085 w 5591292"/>
                <a:gd name="connsiteY2" fmla="*/ 1182559 h 2033672"/>
                <a:gd name="connsiteX3" fmla="*/ 3428754 w 5591292"/>
                <a:gd name="connsiteY3" fmla="*/ 707888 h 2033672"/>
                <a:gd name="connsiteX4" fmla="*/ 2395756 w 5591292"/>
                <a:gd name="connsiteY4" fmla="*/ 545017 h 2033672"/>
                <a:gd name="connsiteX5" fmla="*/ 1363392 w 5591292"/>
                <a:gd name="connsiteY5" fmla="*/ 707254 h 2033672"/>
                <a:gd name="connsiteX6" fmla="*/ 433060 w 5591292"/>
                <a:gd name="connsiteY6" fmla="*/ 1181925 h 2033672"/>
                <a:gd name="connsiteX7" fmla="*/ 52182 w 5591292"/>
                <a:gd name="connsiteY7" fmla="*/ 1121720 h 2033672"/>
                <a:gd name="connsiteX8" fmla="*/ 112388 w 5591292"/>
                <a:gd name="connsiteY8" fmla="*/ 740842 h 2033672"/>
                <a:gd name="connsiteX9" fmla="*/ 1195451 w 5591292"/>
                <a:gd name="connsiteY9" fmla="*/ 188221 h 2033672"/>
                <a:gd name="connsiteX10" fmla="*/ 2395756 w 5591292"/>
                <a:gd name="connsiteY10" fmla="*/ 0 h 2033672"/>
                <a:gd name="connsiteX11" fmla="*/ 3596695 w 5591292"/>
                <a:gd name="connsiteY11" fmla="*/ 189488 h 2033672"/>
                <a:gd name="connsiteX12" fmla="*/ 4679758 w 5591292"/>
                <a:gd name="connsiteY12" fmla="*/ 742110 h 2033672"/>
                <a:gd name="connsiteX13" fmla="*/ 5539111 w 5591292"/>
                <a:gd name="connsiteY13" fmla="*/ 1601461 h 2033672"/>
                <a:gd name="connsiteX14" fmla="*/ 5478905 w 5591292"/>
                <a:gd name="connsiteY14" fmla="*/ 1982339 h 2033672"/>
                <a:gd name="connsiteX15" fmla="*/ 5318569 w 5591292"/>
                <a:gd name="connsiteY15" fmla="*/ 2033672 h 203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91292" h="2033672">
                  <a:moveTo>
                    <a:pt x="5318569" y="2033672"/>
                  </a:moveTo>
                  <a:cubicBezTo>
                    <a:pt x="5234281" y="2033672"/>
                    <a:pt x="5151262" y="1995014"/>
                    <a:pt x="5098027" y="1921500"/>
                  </a:cubicBezTo>
                  <a:cubicBezTo>
                    <a:pt x="4891427" y="1637585"/>
                    <a:pt x="4642367" y="1389158"/>
                    <a:pt x="4359085" y="1182559"/>
                  </a:cubicBezTo>
                  <a:cubicBezTo>
                    <a:pt x="4074536" y="975326"/>
                    <a:pt x="3761467" y="815624"/>
                    <a:pt x="3428754" y="707888"/>
                  </a:cubicBezTo>
                  <a:cubicBezTo>
                    <a:pt x="3096040" y="599518"/>
                    <a:pt x="2748750" y="545017"/>
                    <a:pt x="2395756" y="545017"/>
                  </a:cubicBezTo>
                  <a:cubicBezTo>
                    <a:pt x="2042762" y="545017"/>
                    <a:pt x="1695472" y="599518"/>
                    <a:pt x="1363392" y="707254"/>
                  </a:cubicBezTo>
                  <a:cubicBezTo>
                    <a:pt x="1030044" y="815624"/>
                    <a:pt x="716976" y="975326"/>
                    <a:pt x="433060" y="1181925"/>
                  </a:cubicBezTo>
                  <a:cubicBezTo>
                    <a:pt x="311382" y="1270649"/>
                    <a:pt x="140906" y="1243398"/>
                    <a:pt x="52182" y="1121720"/>
                  </a:cubicBezTo>
                  <a:cubicBezTo>
                    <a:pt x="-36541" y="1000042"/>
                    <a:pt x="-9291" y="829566"/>
                    <a:pt x="112388" y="740842"/>
                  </a:cubicBezTo>
                  <a:cubicBezTo>
                    <a:pt x="443200" y="500021"/>
                    <a:pt x="807601" y="314335"/>
                    <a:pt x="1195451" y="188221"/>
                  </a:cubicBezTo>
                  <a:cubicBezTo>
                    <a:pt x="1581399" y="63374"/>
                    <a:pt x="1985726" y="0"/>
                    <a:pt x="2395756" y="0"/>
                  </a:cubicBezTo>
                  <a:cubicBezTo>
                    <a:pt x="2805786" y="0"/>
                    <a:pt x="3210113" y="63374"/>
                    <a:pt x="3596695" y="189488"/>
                  </a:cubicBezTo>
                  <a:cubicBezTo>
                    <a:pt x="3984544" y="315603"/>
                    <a:pt x="4348945" y="501288"/>
                    <a:pt x="4679758" y="742110"/>
                  </a:cubicBezTo>
                  <a:cubicBezTo>
                    <a:pt x="5009937" y="982297"/>
                    <a:pt x="5298923" y="1271283"/>
                    <a:pt x="5539111" y="1601461"/>
                  </a:cubicBezTo>
                  <a:cubicBezTo>
                    <a:pt x="5627834" y="1723139"/>
                    <a:pt x="5600583" y="1893616"/>
                    <a:pt x="5478905" y="1982339"/>
                  </a:cubicBezTo>
                  <a:cubicBezTo>
                    <a:pt x="5430108" y="2017195"/>
                    <a:pt x="5374338" y="2033672"/>
                    <a:pt x="5318569" y="2033672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Graphic 8">
              <a:extLst>
                <a:ext uri="{FF2B5EF4-FFF2-40B4-BE49-F238E27FC236}">
                  <a16:creationId xmlns:a16="http://schemas.microsoft.com/office/drawing/2014/main" id="{5A110A60-A130-4267-A6FF-E5A5A23B7106}"/>
                </a:ext>
              </a:extLst>
            </p:cNvPr>
            <p:cNvSpPr/>
            <p:nvPr/>
          </p:nvSpPr>
          <p:spPr>
            <a:xfrm>
              <a:off x="4874388" y="3156492"/>
              <a:ext cx="1234108" cy="2668679"/>
            </a:xfrm>
            <a:custGeom>
              <a:avLst/>
              <a:gdLst>
                <a:gd name="connsiteX0" fmla="*/ 962652 w 1234108"/>
                <a:gd name="connsiteY0" fmla="*/ 2668680 h 2668679"/>
                <a:gd name="connsiteX1" fmla="*/ 742111 w 1234108"/>
                <a:gd name="connsiteY1" fmla="*/ 2556508 h 2668679"/>
                <a:gd name="connsiteX2" fmla="*/ 189489 w 1234108"/>
                <a:gd name="connsiteY2" fmla="*/ 1473446 h 2668679"/>
                <a:gd name="connsiteX3" fmla="*/ 0 w 1234108"/>
                <a:gd name="connsiteY3" fmla="*/ 272508 h 2668679"/>
                <a:gd name="connsiteX4" fmla="*/ 272509 w 1234108"/>
                <a:gd name="connsiteY4" fmla="*/ 0 h 2668679"/>
                <a:gd name="connsiteX5" fmla="*/ 545017 w 1234108"/>
                <a:gd name="connsiteY5" fmla="*/ 272508 h 2668679"/>
                <a:gd name="connsiteX6" fmla="*/ 707255 w 1234108"/>
                <a:gd name="connsiteY6" fmla="*/ 1304871 h 2668679"/>
                <a:gd name="connsiteX7" fmla="*/ 1181927 w 1234108"/>
                <a:gd name="connsiteY7" fmla="*/ 2235835 h 2668679"/>
                <a:gd name="connsiteX8" fmla="*/ 1121721 w 1234108"/>
                <a:gd name="connsiteY8" fmla="*/ 2616713 h 2668679"/>
                <a:gd name="connsiteX9" fmla="*/ 962652 w 1234108"/>
                <a:gd name="connsiteY9" fmla="*/ 2668680 h 2668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4108" h="2668679">
                  <a:moveTo>
                    <a:pt x="962652" y="2668680"/>
                  </a:moveTo>
                  <a:cubicBezTo>
                    <a:pt x="878365" y="2668680"/>
                    <a:pt x="795345" y="2630022"/>
                    <a:pt x="742111" y="2556508"/>
                  </a:cubicBezTo>
                  <a:cubicBezTo>
                    <a:pt x="501289" y="2225696"/>
                    <a:pt x="315603" y="1861295"/>
                    <a:pt x="189489" y="1473446"/>
                  </a:cubicBezTo>
                  <a:cubicBezTo>
                    <a:pt x="63374" y="1086864"/>
                    <a:pt x="0" y="682538"/>
                    <a:pt x="0" y="272508"/>
                  </a:cubicBezTo>
                  <a:cubicBezTo>
                    <a:pt x="0" y="122312"/>
                    <a:pt x="122312" y="0"/>
                    <a:pt x="272509" y="0"/>
                  </a:cubicBezTo>
                  <a:cubicBezTo>
                    <a:pt x="422705" y="0"/>
                    <a:pt x="545017" y="122312"/>
                    <a:pt x="545017" y="272508"/>
                  </a:cubicBezTo>
                  <a:cubicBezTo>
                    <a:pt x="545017" y="625502"/>
                    <a:pt x="599519" y="972791"/>
                    <a:pt x="707255" y="1304871"/>
                  </a:cubicBezTo>
                  <a:cubicBezTo>
                    <a:pt x="815624" y="1638218"/>
                    <a:pt x="975327" y="1951286"/>
                    <a:pt x="1181927" y="2235835"/>
                  </a:cubicBezTo>
                  <a:cubicBezTo>
                    <a:pt x="1270650" y="2357513"/>
                    <a:pt x="1243400" y="2527990"/>
                    <a:pt x="1121721" y="2616713"/>
                  </a:cubicBezTo>
                  <a:cubicBezTo>
                    <a:pt x="1074191" y="2651569"/>
                    <a:pt x="1017788" y="2668680"/>
                    <a:pt x="962652" y="2668680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Graphic 8">
              <a:extLst>
                <a:ext uri="{FF2B5EF4-FFF2-40B4-BE49-F238E27FC236}">
                  <a16:creationId xmlns:a16="http://schemas.microsoft.com/office/drawing/2014/main" id="{BE0D807C-8331-4063-85DF-BACD56B5C8B9}"/>
                </a:ext>
              </a:extLst>
            </p:cNvPr>
            <p:cNvSpPr/>
            <p:nvPr/>
          </p:nvSpPr>
          <p:spPr>
            <a:xfrm>
              <a:off x="7369796" y="6592368"/>
              <a:ext cx="2778846" cy="721459"/>
            </a:xfrm>
            <a:custGeom>
              <a:avLst/>
              <a:gdLst>
                <a:gd name="connsiteX0" fmla="*/ 1389423 w 2778846"/>
                <a:gd name="connsiteY0" fmla="*/ 721460 h 721459"/>
                <a:gd name="connsiteX1" fmla="*/ 188485 w 2778846"/>
                <a:gd name="connsiteY1" fmla="*/ 531971 h 721459"/>
                <a:gd name="connsiteX2" fmla="*/ 13572 w 2778846"/>
                <a:gd name="connsiteY2" fmla="*/ 188484 h 721459"/>
                <a:gd name="connsiteX3" fmla="*/ 357060 w 2778846"/>
                <a:gd name="connsiteY3" fmla="*/ 13572 h 721459"/>
                <a:gd name="connsiteX4" fmla="*/ 1389423 w 2778846"/>
                <a:gd name="connsiteY4" fmla="*/ 175809 h 721459"/>
                <a:gd name="connsiteX5" fmla="*/ 2421787 w 2778846"/>
                <a:gd name="connsiteY5" fmla="*/ 13572 h 721459"/>
                <a:gd name="connsiteX6" fmla="*/ 2765275 w 2778846"/>
                <a:gd name="connsiteY6" fmla="*/ 188484 h 721459"/>
                <a:gd name="connsiteX7" fmla="*/ 2590362 w 2778846"/>
                <a:gd name="connsiteY7" fmla="*/ 531971 h 721459"/>
                <a:gd name="connsiteX8" fmla="*/ 1389423 w 2778846"/>
                <a:gd name="connsiteY8" fmla="*/ 721460 h 721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78846" h="721459">
                  <a:moveTo>
                    <a:pt x="1389423" y="721460"/>
                  </a:moveTo>
                  <a:cubicBezTo>
                    <a:pt x="979393" y="721460"/>
                    <a:pt x="575066" y="658086"/>
                    <a:pt x="188485" y="531971"/>
                  </a:cubicBezTo>
                  <a:cubicBezTo>
                    <a:pt x="45259" y="485709"/>
                    <a:pt x="-33325" y="331709"/>
                    <a:pt x="13572" y="188484"/>
                  </a:cubicBezTo>
                  <a:cubicBezTo>
                    <a:pt x="59835" y="45259"/>
                    <a:pt x="213834" y="-33325"/>
                    <a:pt x="357060" y="13572"/>
                  </a:cubicBezTo>
                  <a:cubicBezTo>
                    <a:pt x="689140" y="121308"/>
                    <a:pt x="1036430" y="175809"/>
                    <a:pt x="1389423" y="175809"/>
                  </a:cubicBezTo>
                  <a:cubicBezTo>
                    <a:pt x="1742417" y="175809"/>
                    <a:pt x="2089707" y="121308"/>
                    <a:pt x="2421787" y="13572"/>
                  </a:cubicBezTo>
                  <a:cubicBezTo>
                    <a:pt x="2565013" y="-32691"/>
                    <a:pt x="2718378" y="45259"/>
                    <a:pt x="2765275" y="188484"/>
                  </a:cubicBezTo>
                  <a:cubicBezTo>
                    <a:pt x="2812172" y="331709"/>
                    <a:pt x="2733588" y="485074"/>
                    <a:pt x="2590362" y="531971"/>
                  </a:cubicBezTo>
                  <a:cubicBezTo>
                    <a:pt x="2203780" y="658086"/>
                    <a:pt x="1799454" y="721460"/>
                    <a:pt x="1389423" y="721460"/>
                  </a:cubicBezTo>
                  <a:close/>
                </a:path>
              </a:pathLst>
            </a:custGeom>
            <a:noFill/>
            <a:ln w="158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Graphic 8">
              <a:extLst>
                <a:ext uri="{FF2B5EF4-FFF2-40B4-BE49-F238E27FC236}">
                  <a16:creationId xmlns:a16="http://schemas.microsoft.com/office/drawing/2014/main" id="{D5A18019-7F56-409E-BE64-40C51C5080C3}"/>
                </a:ext>
              </a:extLst>
            </p:cNvPr>
            <p:cNvSpPr/>
            <p:nvPr/>
          </p:nvSpPr>
          <p:spPr>
            <a:xfrm>
              <a:off x="5730572" y="833200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7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7"/>
                    <a:pt x="272509" y="545017"/>
                  </a:cubicBezTo>
                  <a:cubicBezTo>
                    <a:pt x="122006" y="545017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Graphic 8">
              <a:extLst>
                <a:ext uri="{FF2B5EF4-FFF2-40B4-BE49-F238E27FC236}">
                  <a16:creationId xmlns:a16="http://schemas.microsoft.com/office/drawing/2014/main" id="{426CF1F7-3455-48CE-B2B9-E7D9706647BE}"/>
                </a:ext>
              </a:extLst>
            </p:cNvPr>
            <p:cNvSpPr/>
            <p:nvPr/>
          </p:nvSpPr>
          <p:spPr>
            <a:xfrm>
              <a:off x="5973928" y="3150788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6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6"/>
                    <a:pt x="272509" y="545016"/>
                  </a:cubicBezTo>
                  <a:cubicBezTo>
                    <a:pt x="122006" y="545016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2C5D59D-EC81-384A-BD76-B7D351864B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580" y="778479"/>
            <a:ext cx="1368000" cy="448468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wrap="square" lIns="144000" tIns="36000" rIns="144000" bIns="36000" anchor="ctr">
            <a:spAutoFit/>
          </a:bodyPr>
          <a:lstStyle>
            <a:lvl1pPr marL="0" indent="0">
              <a:lnSpc>
                <a:spcPct val="100000"/>
              </a:lnSpc>
              <a:buNone/>
              <a:defRPr sz="1600" b="1" baseline="0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marL="457189" indent="0">
              <a:buNone/>
              <a:defRPr b="1">
                <a:latin typeface="+mj-lt"/>
              </a:defRPr>
            </a:lvl2pPr>
            <a:lvl3pPr marL="914377" indent="0">
              <a:buNone/>
              <a:defRPr b="1">
                <a:latin typeface="+mj-lt"/>
              </a:defRPr>
            </a:lvl3pPr>
            <a:lvl4pPr marL="1371566" indent="0">
              <a:buNone/>
              <a:defRPr b="1">
                <a:latin typeface="+mj-lt"/>
              </a:defRPr>
            </a:lvl4pPr>
            <a:lvl5pPr marL="1828754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US" dirty="0"/>
              <a:t>Categor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0509" y="2380137"/>
            <a:ext cx="3620656" cy="1458641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985792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bg1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 dirty="0"/>
              <a:t>Name and Supporting Info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A7CA6F1-7213-4A75-A585-1B377B8B17BC}"/>
              </a:ext>
            </a:extLst>
          </p:cNvPr>
          <p:cNvGrpSpPr/>
          <p:nvPr userDrawn="1"/>
        </p:nvGrpSpPr>
        <p:grpSpPr>
          <a:xfrm>
            <a:off x="6097485" y="645613"/>
            <a:ext cx="6545298" cy="5967297"/>
            <a:chOff x="6097485" y="645613"/>
            <a:chExt cx="6545298" cy="5967297"/>
          </a:xfrm>
        </p:grpSpPr>
        <p:sp>
          <p:nvSpPr>
            <p:cNvPr id="17" name="Graphic 8">
              <a:extLst>
                <a:ext uri="{FF2B5EF4-FFF2-40B4-BE49-F238E27FC236}">
                  <a16:creationId xmlns:a16="http://schemas.microsoft.com/office/drawing/2014/main" id="{6BD0A67F-58CE-4F7F-8FE0-E919E44C8CC8}"/>
                </a:ext>
              </a:extLst>
            </p:cNvPr>
            <p:cNvSpPr/>
            <p:nvPr userDrawn="1"/>
          </p:nvSpPr>
          <p:spPr>
            <a:xfrm>
              <a:off x="6097485" y="3932801"/>
              <a:ext cx="1457567" cy="1800478"/>
            </a:xfrm>
            <a:custGeom>
              <a:avLst/>
              <a:gdLst>
                <a:gd name="connsiteX0" fmla="*/ 1185118 w 1457567"/>
                <a:gd name="connsiteY0" fmla="*/ 1800479 h 1800478"/>
                <a:gd name="connsiteX1" fmla="*/ 1024782 w 1457567"/>
                <a:gd name="connsiteY1" fmla="*/ 1748512 h 1800478"/>
                <a:gd name="connsiteX2" fmla="*/ 409419 w 1457567"/>
                <a:gd name="connsiteY2" fmla="*/ 1133150 h 1800478"/>
                <a:gd name="connsiteX3" fmla="*/ 13331 w 1457567"/>
                <a:gd name="connsiteY3" fmla="*/ 356819 h 1800478"/>
                <a:gd name="connsiteX4" fmla="*/ 188244 w 1457567"/>
                <a:gd name="connsiteY4" fmla="*/ 13331 h 1800478"/>
                <a:gd name="connsiteX5" fmla="*/ 531731 w 1457567"/>
                <a:gd name="connsiteY5" fmla="*/ 188244 h 1800478"/>
                <a:gd name="connsiteX6" fmla="*/ 849869 w 1457567"/>
                <a:gd name="connsiteY6" fmla="*/ 811844 h 1800478"/>
                <a:gd name="connsiteX7" fmla="*/ 1345455 w 1457567"/>
                <a:gd name="connsiteY7" fmla="*/ 1307429 h 1800478"/>
                <a:gd name="connsiteX8" fmla="*/ 1405660 w 1457567"/>
                <a:gd name="connsiteY8" fmla="*/ 1688307 h 1800478"/>
                <a:gd name="connsiteX9" fmla="*/ 1185118 w 1457567"/>
                <a:gd name="connsiteY9" fmla="*/ 1800479 h 1800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57567" h="1800478">
                  <a:moveTo>
                    <a:pt x="1185118" y="1800479"/>
                  </a:moveTo>
                  <a:cubicBezTo>
                    <a:pt x="1129349" y="1800479"/>
                    <a:pt x="1073580" y="1783368"/>
                    <a:pt x="1024782" y="1748512"/>
                  </a:cubicBezTo>
                  <a:cubicBezTo>
                    <a:pt x="788396" y="1576135"/>
                    <a:pt x="581163" y="1369535"/>
                    <a:pt x="409419" y="1133150"/>
                  </a:cubicBezTo>
                  <a:cubicBezTo>
                    <a:pt x="237042" y="896132"/>
                    <a:pt x="103323" y="635031"/>
                    <a:pt x="13331" y="356819"/>
                  </a:cubicBezTo>
                  <a:cubicBezTo>
                    <a:pt x="-32932" y="213593"/>
                    <a:pt x="45018" y="60228"/>
                    <a:pt x="188244" y="13331"/>
                  </a:cubicBezTo>
                  <a:cubicBezTo>
                    <a:pt x="331469" y="-32932"/>
                    <a:pt x="484834" y="45018"/>
                    <a:pt x="531731" y="188244"/>
                  </a:cubicBezTo>
                  <a:cubicBezTo>
                    <a:pt x="603978" y="411320"/>
                    <a:pt x="711080" y="621088"/>
                    <a:pt x="849869" y="811844"/>
                  </a:cubicBezTo>
                  <a:cubicBezTo>
                    <a:pt x="988658" y="1001966"/>
                    <a:pt x="1155332" y="1169274"/>
                    <a:pt x="1345455" y="1307429"/>
                  </a:cubicBezTo>
                  <a:cubicBezTo>
                    <a:pt x="1467133" y="1396152"/>
                    <a:pt x="1493750" y="1566629"/>
                    <a:pt x="1405660" y="1688307"/>
                  </a:cubicBezTo>
                  <a:cubicBezTo>
                    <a:pt x="1352426" y="1761821"/>
                    <a:pt x="1269406" y="1800479"/>
                    <a:pt x="1185118" y="1800479"/>
                  </a:cubicBezTo>
                  <a:close/>
                </a:path>
              </a:pathLst>
            </a:custGeom>
            <a:solidFill>
              <a:schemeClr val="tx1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Graphic 8">
              <a:extLst>
                <a:ext uri="{FF2B5EF4-FFF2-40B4-BE49-F238E27FC236}">
                  <a16:creationId xmlns:a16="http://schemas.microsoft.com/office/drawing/2014/main" id="{83807D33-8640-46F7-9032-7F3628DB4F37}"/>
                </a:ext>
              </a:extLst>
            </p:cNvPr>
            <p:cNvSpPr/>
            <p:nvPr userDrawn="1"/>
          </p:nvSpPr>
          <p:spPr>
            <a:xfrm>
              <a:off x="8486711" y="5188681"/>
              <a:ext cx="2021215" cy="1024339"/>
            </a:xfrm>
            <a:custGeom>
              <a:avLst/>
              <a:gdLst>
                <a:gd name="connsiteX0" fmla="*/ 272509 w 2021215"/>
                <a:gd name="connsiteY0" fmla="*/ 1024340 h 1024339"/>
                <a:gd name="connsiteX1" fmla="*/ 0 w 2021215"/>
                <a:gd name="connsiteY1" fmla="*/ 751831 h 1024339"/>
                <a:gd name="connsiteX2" fmla="*/ 272509 w 2021215"/>
                <a:gd name="connsiteY2" fmla="*/ 479323 h 1024339"/>
                <a:gd name="connsiteX3" fmla="*/ 964554 w 2021215"/>
                <a:gd name="connsiteY3" fmla="*/ 370319 h 1024339"/>
                <a:gd name="connsiteX4" fmla="*/ 1588154 w 2021215"/>
                <a:gd name="connsiteY4" fmla="*/ 52182 h 1024339"/>
                <a:gd name="connsiteX5" fmla="*/ 1969033 w 2021215"/>
                <a:gd name="connsiteY5" fmla="*/ 112388 h 1024339"/>
                <a:gd name="connsiteX6" fmla="*/ 1908828 w 2021215"/>
                <a:gd name="connsiteY6" fmla="*/ 493265 h 1024339"/>
                <a:gd name="connsiteX7" fmla="*/ 1132495 w 2021215"/>
                <a:gd name="connsiteY7" fmla="*/ 889353 h 1024339"/>
                <a:gd name="connsiteX8" fmla="*/ 272509 w 2021215"/>
                <a:gd name="connsiteY8" fmla="*/ 1024340 h 1024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21215" h="1024339">
                  <a:moveTo>
                    <a:pt x="272509" y="1024340"/>
                  </a:moveTo>
                  <a:cubicBezTo>
                    <a:pt x="122312" y="1024340"/>
                    <a:pt x="0" y="902028"/>
                    <a:pt x="0" y="751831"/>
                  </a:cubicBezTo>
                  <a:cubicBezTo>
                    <a:pt x="0" y="601635"/>
                    <a:pt x="122312" y="479323"/>
                    <a:pt x="272509" y="479323"/>
                  </a:cubicBezTo>
                  <a:cubicBezTo>
                    <a:pt x="508894" y="479323"/>
                    <a:pt x="742110" y="442566"/>
                    <a:pt x="964554" y="370319"/>
                  </a:cubicBezTo>
                  <a:cubicBezTo>
                    <a:pt x="1187631" y="298073"/>
                    <a:pt x="1397399" y="190971"/>
                    <a:pt x="1588154" y="52182"/>
                  </a:cubicBezTo>
                  <a:cubicBezTo>
                    <a:pt x="1709833" y="-36541"/>
                    <a:pt x="1880309" y="-9291"/>
                    <a:pt x="1969033" y="112388"/>
                  </a:cubicBezTo>
                  <a:cubicBezTo>
                    <a:pt x="2057757" y="234065"/>
                    <a:pt x="2030506" y="404542"/>
                    <a:pt x="1908828" y="493265"/>
                  </a:cubicBezTo>
                  <a:cubicBezTo>
                    <a:pt x="1671808" y="665643"/>
                    <a:pt x="1410707" y="799362"/>
                    <a:pt x="1132495" y="889353"/>
                  </a:cubicBezTo>
                  <a:cubicBezTo>
                    <a:pt x="855550" y="978710"/>
                    <a:pt x="566564" y="1024340"/>
                    <a:pt x="272509" y="1024340"/>
                  </a:cubicBezTo>
                  <a:close/>
                </a:path>
              </a:pathLst>
            </a:custGeom>
            <a:solidFill>
              <a:schemeClr val="bg1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Graphic 8">
              <a:extLst>
                <a:ext uri="{FF2B5EF4-FFF2-40B4-BE49-F238E27FC236}">
                  <a16:creationId xmlns:a16="http://schemas.microsoft.com/office/drawing/2014/main" id="{320FD38C-7727-4170-98F6-AA9CE21852EA}"/>
                </a:ext>
              </a:extLst>
            </p:cNvPr>
            <p:cNvSpPr/>
            <p:nvPr userDrawn="1"/>
          </p:nvSpPr>
          <p:spPr>
            <a:xfrm>
              <a:off x="7710355" y="645613"/>
              <a:ext cx="2797929" cy="1024124"/>
            </a:xfrm>
            <a:custGeom>
              <a:avLst/>
              <a:gdLst>
                <a:gd name="connsiteX0" fmla="*/ 2524847 w 2797929"/>
                <a:gd name="connsiteY0" fmla="*/ 1024124 h 1024124"/>
                <a:gd name="connsiteX1" fmla="*/ 2364510 w 2797929"/>
                <a:gd name="connsiteY1" fmla="*/ 972157 h 1024124"/>
                <a:gd name="connsiteX2" fmla="*/ 1740909 w 2797929"/>
                <a:gd name="connsiteY2" fmla="*/ 654020 h 1024124"/>
                <a:gd name="connsiteX3" fmla="*/ 1048864 w 2797929"/>
                <a:gd name="connsiteY3" fmla="*/ 545016 h 1024124"/>
                <a:gd name="connsiteX4" fmla="*/ 356819 w 2797929"/>
                <a:gd name="connsiteY4" fmla="*/ 654020 h 1024124"/>
                <a:gd name="connsiteX5" fmla="*/ 13331 w 2797929"/>
                <a:gd name="connsiteY5" fmla="*/ 479108 h 1024124"/>
                <a:gd name="connsiteX6" fmla="*/ 188244 w 2797929"/>
                <a:gd name="connsiteY6" fmla="*/ 135620 h 1024124"/>
                <a:gd name="connsiteX7" fmla="*/ 1048864 w 2797929"/>
                <a:gd name="connsiteY7" fmla="*/ 0 h 1024124"/>
                <a:gd name="connsiteX8" fmla="*/ 1909484 w 2797929"/>
                <a:gd name="connsiteY8" fmla="*/ 135620 h 1024124"/>
                <a:gd name="connsiteX9" fmla="*/ 2685816 w 2797929"/>
                <a:gd name="connsiteY9" fmla="*/ 531708 h 1024124"/>
                <a:gd name="connsiteX10" fmla="*/ 2746022 w 2797929"/>
                <a:gd name="connsiteY10" fmla="*/ 912586 h 1024124"/>
                <a:gd name="connsiteX11" fmla="*/ 2524847 w 2797929"/>
                <a:gd name="connsiteY11" fmla="*/ 1024124 h 1024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97929" h="1024124">
                  <a:moveTo>
                    <a:pt x="2524847" y="1024124"/>
                  </a:moveTo>
                  <a:cubicBezTo>
                    <a:pt x="2469077" y="1024124"/>
                    <a:pt x="2413308" y="1007013"/>
                    <a:pt x="2364510" y="972157"/>
                  </a:cubicBezTo>
                  <a:cubicBezTo>
                    <a:pt x="2173754" y="833368"/>
                    <a:pt x="1963986" y="726266"/>
                    <a:pt x="1740909" y="654020"/>
                  </a:cubicBezTo>
                  <a:cubicBezTo>
                    <a:pt x="1518466" y="581774"/>
                    <a:pt x="1285249" y="545016"/>
                    <a:pt x="1048864" y="545016"/>
                  </a:cubicBezTo>
                  <a:cubicBezTo>
                    <a:pt x="812479" y="545016"/>
                    <a:pt x="579262" y="581774"/>
                    <a:pt x="356819" y="654020"/>
                  </a:cubicBezTo>
                  <a:cubicBezTo>
                    <a:pt x="213594" y="700283"/>
                    <a:pt x="60228" y="622333"/>
                    <a:pt x="13331" y="479108"/>
                  </a:cubicBezTo>
                  <a:cubicBezTo>
                    <a:pt x="-32932" y="335882"/>
                    <a:pt x="45018" y="182517"/>
                    <a:pt x="188244" y="135620"/>
                  </a:cubicBezTo>
                  <a:cubicBezTo>
                    <a:pt x="465189" y="45629"/>
                    <a:pt x="754808" y="0"/>
                    <a:pt x="1048864" y="0"/>
                  </a:cubicBezTo>
                  <a:cubicBezTo>
                    <a:pt x="1342920" y="0"/>
                    <a:pt x="1631905" y="45629"/>
                    <a:pt x="1909484" y="135620"/>
                  </a:cubicBezTo>
                  <a:cubicBezTo>
                    <a:pt x="2187696" y="225611"/>
                    <a:pt x="2448798" y="359331"/>
                    <a:pt x="2685816" y="531708"/>
                  </a:cubicBezTo>
                  <a:cubicBezTo>
                    <a:pt x="2807495" y="620432"/>
                    <a:pt x="2834112" y="790908"/>
                    <a:pt x="2746022" y="912586"/>
                  </a:cubicBezTo>
                  <a:cubicBezTo>
                    <a:pt x="2692154" y="984832"/>
                    <a:pt x="2609134" y="1024124"/>
                    <a:pt x="2524847" y="1024124"/>
                  </a:cubicBezTo>
                  <a:close/>
                </a:path>
              </a:pathLst>
            </a:custGeom>
            <a:solidFill>
              <a:schemeClr val="bg1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Graphic 8">
              <a:extLst>
                <a:ext uri="{FF2B5EF4-FFF2-40B4-BE49-F238E27FC236}">
                  <a16:creationId xmlns:a16="http://schemas.microsoft.com/office/drawing/2014/main" id="{DC720B60-A9EC-4EF6-B22E-D9744DA1284C}"/>
                </a:ext>
              </a:extLst>
            </p:cNvPr>
            <p:cNvSpPr/>
            <p:nvPr userDrawn="1"/>
          </p:nvSpPr>
          <p:spPr>
            <a:xfrm>
              <a:off x="11408949" y="3157125"/>
              <a:ext cx="1233834" cy="2668046"/>
            </a:xfrm>
            <a:custGeom>
              <a:avLst/>
              <a:gdLst>
                <a:gd name="connsiteX0" fmla="*/ 272449 w 1233834"/>
                <a:gd name="connsiteY0" fmla="*/ 2668046 h 2668046"/>
                <a:gd name="connsiteX1" fmla="*/ 112113 w 1233834"/>
                <a:gd name="connsiteY1" fmla="*/ 2616080 h 2668046"/>
                <a:gd name="connsiteX2" fmla="*/ 51908 w 1233834"/>
                <a:gd name="connsiteY2" fmla="*/ 2235202 h 2668046"/>
                <a:gd name="connsiteX3" fmla="*/ 526579 w 1233834"/>
                <a:gd name="connsiteY3" fmla="*/ 1304871 h 2668046"/>
                <a:gd name="connsiteX4" fmla="*/ 688818 w 1233834"/>
                <a:gd name="connsiteY4" fmla="*/ 272508 h 2668046"/>
                <a:gd name="connsiteX5" fmla="*/ 961326 w 1233834"/>
                <a:gd name="connsiteY5" fmla="*/ 0 h 2668046"/>
                <a:gd name="connsiteX6" fmla="*/ 1233835 w 1233834"/>
                <a:gd name="connsiteY6" fmla="*/ 272508 h 2668046"/>
                <a:gd name="connsiteX7" fmla="*/ 1044346 w 1233834"/>
                <a:gd name="connsiteY7" fmla="*/ 1473446 h 2668046"/>
                <a:gd name="connsiteX8" fmla="*/ 491724 w 1233834"/>
                <a:gd name="connsiteY8" fmla="*/ 2556508 h 2668046"/>
                <a:gd name="connsiteX9" fmla="*/ 272449 w 1233834"/>
                <a:gd name="connsiteY9" fmla="*/ 2668046 h 2668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3834" h="2668046">
                  <a:moveTo>
                    <a:pt x="272449" y="2668046"/>
                  </a:moveTo>
                  <a:cubicBezTo>
                    <a:pt x="216681" y="2668046"/>
                    <a:pt x="160911" y="2650935"/>
                    <a:pt x="112113" y="2616080"/>
                  </a:cubicBezTo>
                  <a:cubicBezTo>
                    <a:pt x="-9565" y="2527356"/>
                    <a:pt x="-36182" y="2356880"/>
                    <a:pt x="51908" y="2235202"/>
                  </a:cubicBezTo>
                  <a:cubicBezTo>
                    <a:pt x="259141" y="1950653"/>
                    <a:pt x="418843" y="1637585"/>
                    <a:pt x="526579" y="1304871"/>
                  </a:cubicBezTo>
                  <a:cubicBezTo>
                    <a:pt x="634315" y="972791"/>
                    <a:pt x="688818" y="625502"/>
                    <a:pt x="688818" y="272508"/>
                  </a:cubicBezTo>
                  <a:cubicBezTo>
                    <a:pt x="688818" y="122312"/>
                    <a:pt x="811129" y="0"/>
                    <a:pt x="961326" y="0"/>
                  </a:cubicBezTo>
                  <a:cubicBezTo>
                    <a:pt x="1111523" y="0"/>
                    <a:pt x="1233835" y="122312"/>
                    <a:pt x="1233835" y="272508"/>
                  </a:cubicBezTo>
                  <a:cubicBezTo>
                    <a:pt x="1233835" y="682538"/>
                    <a:pt x="1170461" y="1086864"/>
                    <a:pt x="1044346" y="1473446"/>
                  </a:cubicBezTo>
                  <a:cubicBezTo>
                    <a:pt x="918232" y="1861295"/>
                    <a:pt x="732545" y="2225696"/>
                    <a:pt x="491724" y="2556508"/>
                  </a:cubicBezTo>
                  <a:cubicBezTo>
                    <a:pt x="439757" y="2628755"/>
                    <a:pt x="356737" y="2668046"/>
                    <a:pt x="272449" y="2668046"/>
                  </a:cubicBezTo>
                  <a:close/>
                </a:path>
              </a:pathLst>
            </a:custGeom>
            <a:solidFill>
              <a:schemeClr val="tx1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Graphic 8">
              <a:extLst>
                <a:ext uri="{FF2B5EF4-FFF2-40B4-BE49-F238E27FC236}">
                  <a16:creationId xmlns:a16="http://schemas.microsoft.com/office/drawing/2014/main" id="{431D4E86-D065-4C07-8223-F759EF3491EB}"/>
                </a:ext>
              </a:extLst>
            </p:cNvPr>
            <p:cNvSpPr/>
            <p:nvPr userDrawn="1"/>
          </p:nvSpPr>
          <p:spPr>
            <a:xfrm>
              <a:off x="6361144" y="6067894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7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1"/>
                    <a:pt x="423011" y="545017"/>
                    <a:pt x="272509" y="545017"/>
                  </a:cubicBezTo>
                  <a:cubicBezTo>
                    <a:pt x="122006" y="545017"/>
                    <a:pt x="0" y="423011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solidFill>
              <a:schemeClr val="bg1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Graphic 8">
              <a:extLst>
                <a:ext uri="{FF2B5EF4-FFF2-40B4-BE49-F238E27FC236}">
                  <a16:creationId xmlns:a16="http://schemas.microsoft.com/office/drawing/2014/main" id="{A8F943CB-258C-4C34-88D4-0D258E50AD23}"/>
                </a:ext>
              </a:extLst>
            </p:cNvPr>
            <p:cNvSpPr/>
            <p:nvPr userDrawn="1"/>
          </p:nvSpPr>
          <p:spPr>
            <a:xfrm>
              <a:off x="7001222" y="1106976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9 w 545017"/>
                <a:gd name="connsiteY1" fmla="*/ 545017 h 545016"/>
                <a:gd name="connsiteX2" fmla="*/ 0 w 545017"/>
                <a:gd name="connsiteY2" fmla="*/ 272508 h 545016"/>
                <a:gd name="connsiteX3" fmla="*/ 272509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7"/>
                    <a:pt x="272509" y="545017"/>
                  </a:cubicBezTo>
                  <a:cubicBezTo>
                    <a:pt x="122006" y="545017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9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solidFill>
              <a:schemeClr val="tx1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Graphic 8">
              <a:extLst>
                <a:ext uri="{FF2B5EF4-FFF2-40B4-BE49-F238E27FC236}">
                  <a16:creationId xmlns:a16="http://schemas.microsoft.com/office/drawing/2014/main" id="{162DDDAD-ACC0-4F69-B96C-8BA530A34208}"/>
                </a:ext>
              </a:extLst>
            </p:cNvPr>
            <p:cNvSpPr/>
            <p:nvPr userDrawn="1"/>
          </p:nvSpPr>
          <p:spPr>
            <a:xfrm>
              <a:off x="11944401" y="2068360"/>
              <a:ext cx="545017" cy="545016"/>
            </a:xfrm>
            <a:custGeom>
              <a:avLst/>
              <a:gdLst>
                <a:gd name="connsiteX0" fmla="*/ 545017 w 545017"/>
                <a:gd name="connsiteY0" fmla="*/ 272508 h 545016"/>
                <a:gd name="connsiteX1" fmla="*/ 272508 w 545017"/>
                <a:gd name="connsiteY1" fmla="*/ 545016 h 545016"/>
                <a:gd name="connsiteX2" fmla="*/ 0 w 545017"/>
                <a:gd name="connsiteY2" fmla="*/ 272508 h 545016"/>
                <a:gd name="connsiteX3" fmla="*/ 272508 w 545017"/>
                <a:gd name="connsiteY3" fmla="*/ 0 h 545016"/>
                <a:gd name="connsiteX4" fmla="*/ 545017 w 545017"/>
                <a:gd name="connsiteY4" fmla="*/ 272508 h 5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17" h="545016">
                  <a:moveTo>
                    <a:pt x="545017" y="272508"/>
                  </a:moveTo>
                  <a:cubicBezTo>
                    <a:pt x="545017" y="423010"/>
                    <a:pt x="423011" y="545016"/>
                    <a:pt x="272508" y="545016"/>
                  </a:cubicBezTo>
                  <a:cubicBezTo>
                    <a:pt x="122006" y="545016"/>
                    <a:pt x="0" y="423010"/>
                    <a:pt x="0" y="272508"/>
                  </a:cubicBezTo>
                  <a:cubicBezTo>
                    <a:pt x="0" y="122006"/>
                    <a:pt x="122006" y="0"/>
                    <a:pt x="272508" y="0"/>
                  </a:cubicBezTo>
                  <a:cubicBezTo>
                    <a:pt x="423011" y="0"/>
                    <a:pt x="545017" y="122006"/>
                    <a:pt x="545017" y="272508"/>
                  </a:cubicBezTo>
                  <a:close/>
                </a:path>
              </a:pathLst>
            </a:custGeom>
            <a:solidFill>
              <a:schemeClr val="tx1"/>
            </a:solidFill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470A980-B451-4016-9ACB-9F0E11A008CA}"/>
                </a:ext>
              </a:extLst>
            </p:cNvPr>
            <p:cNvSpPr/>
            <p:nvPr userDrawn="1"/>
          </p:nvSpPr>
          <p:spPr>
            <a:xfrm>
              <a:off x="7067219" y="1731296"/>
              <a:ext cx="3384000" cy="3384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F91A0E46-2271-4CF9-AB21-6F888C634B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5112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- Color -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852748-A5FA-0A49-AF8E-298BF507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81" y="2798362"/>
            <a:ext cx="3620656" cy="687997"/>
          </a:xfrm>
        </p:spPr>
        <p:txBody>
          <a:bodyPr anchor="b" anchorCtr="0">
            <a:noAutofit/>
          </a:bodyPr>
          <a:lstStyle>
            <a:lvl1pPr fontAlgn="b">
              <a:lnSpc>
                <a:spcPct val="100000"/>
              </a:lnSpc>
              <a:defRPr sz="4400"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AF8D55-25B0-4106-90C9-FFC60DB58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581" y="3633374"/>
            <a:ext cx="3620656" cy="522620"/>
          </a:xfrm>
        </p:spPr>
        <p:txBody>
          <a:bodyPr anchor="t" anchorCtr="0">
            <a:noAutofit/>
          </a:bodyPr>
          <a:lstStyle>
            <a:lvl1pPr fontAlgn="b">
              <a:lnSpc>
                <a:spcPct val="100000"/>
              </a:lnSpc>
              <a:defRPr sz="1900" b="0">
                <a:solidFill>
                  <a:schemeClr val="tx1"/>
                </a:solidFill>
                <a:latin typeface="Hurme Geometric Sans 4" panose="020B0A00020000000000" pitchFamily="34" charset="0"/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10" name="Graphic 6">
            <a:extLst>
              <a:ext uri="{FF2B5EF4-FFF2-40B4-BE49-F238E27FC236}">
                <a16:creationId xmlns:a16="http://schemas.microsoft.com/office/drawing/2014/main" id="{723E72EC-2BC2-4156-8A0B-3AB3B2510DE8}"/>
              </a:ext>
            </a:extLst>
          </p:cNvPr>
          <p:cNvSpPr/>
          <p:nvPr/>
        </p:nvSpPr>
        <p:spPr>
          <a:xfrm>
            <a:off x="7374222" y="1393312"/>
            <a:ext cx="4071375" cy="4071375"/>
          </a:xfrm>
          <a:custGeom>
            <a:avLst/>
            <a:gdLst>
              <a:gd name="connsiteX0" fmla="*/ 4071375 w 4071375"/>
              <a:gd name="connsiteY0" fmla="*/ 2035688 h 4071375"/>
              <a:gd name="connsiteX1" fmla="*/ 2035688 w 4071375"/>
              <a:gd name="connsiteY1" fmla="*/ 4071375 h 4071375"/>
              <a:gd name="connsiteX2" fmla="*/ 0 w 4071375"/>
              <a:gd name="connsiteY2" fmla="*/ 2035688 h 4071375"/>
              <a:gd name="connsiteX3" fmla="*/ 2035688 w 4071375"/>
              <a:gd name="connsiteY3" fmla="*/ 0 h 4071375"/>
              <a:gd name="connsiteX4" fmla="*/ 4071375 w 4071375"/>
              <a:gd name="connsiteY4" fmla="*/ 2035688 h 407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71375" h="4071375">
                <a:moveTo>
                  <a:pt x="4071375" y="2035688"/>
                </a:moveTo>
                <a:cubicBezTo>
                  <a:pt x="4071375" y="3159967"/>
                  <a:pt x="3159967" y="4071375"/>
                  <a:pt x="2035688" y="4071375"/>
                </a:cubicBezTo>
                <a:cubicBezTo>
                  <a:pt x="911408" y="4071375"/>
                  <a:pt x="0" y="3159967"/>
                  <a:pt x="0" y="2035688"/>
                </a:cubicBezTo>
                <a:cubicBezTo>
                  <a:pt x="0" y="911408"/>
                  <a:pt x="911408" y="0"/>
                  <a:pt x="2035688" y="0"/>
                </a:cubicBezTo>
                <a:cubicBezTo>
                  <a:pt x="3159967" y="0"/>
                  <a:pt x="4071375" y="911408"/>
                  <a:pt x="4071375" y="2035688"/>
                </a:cubicBezTo>
                <a:close/>
              </a:path>
            </a:pathLst>
          </a:custGeom>
          <a:solidFill>
            <a:schemeClr val="tx1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Graphic 6">
            <a:extLst>
              <a:ext uri="{FF2B5EF4-FFF2-40B4-BE49-F238E27FC236}">
                <a16:creationId xmlns:a16="http://schemas.microsoft.com/office/drawing/2014/main" id="{E6CDD9AB-DCFD-4DF4-A5E1-CB630FB3C1A2}"/>
              </a:ext>
            </a:extLst>
          </p:cNvPr>
          <p:cNvSpPr/>
          <p:nvPr/>
        </p:nvSpPr>
        <p:spPr>
          <a:xfrm>
            <a:off x="11436373" y="2286765"/>
            <a:ext cx="1072855" cy="3073972"/>
          </a:xfrm>
          <a:custGeom>
            <a:avLst/>
            <a:gdLst>
              <a:gd name="connsiteX0" fmla="*/ 266005 w 1072855"/>
              <a:gd name="connsiteY0" fmla="*/ 3073972 h 3073972"/>
              <a:gd name="connsiteX1" fmla="*/ 109461 w 1072855"/>
              <a:gd name="connsiteY1" fmla="*/ 3023235 h 3073972"/>
              <a:gd name="connsiteX2" fmla="*/ 50680 w 1072855"/>
              <a:gd name="connsiteY2" fmla="*/ 2651366 h 3073972"/>
              <a:gd name="connsiteX3" fmla="*/ 415742 w 1072855"/>
              <a:gd name="connsiteY3" fmla="*/ 1936091 h 3073972"/>
              <a:gd name="connsiteX4" fmla="*/ 540730 w 1072855"/>
              <a:gd name="connsiteY4" fmla="*/ 1142235 h 3073972"/>
              <a:gd name="connsiteX5" fmla="*/ 415742 w 1072855"/>
              <a:gd name="connsiteY5" fmla="*/ 348379 h 3073972"/>
              <a:gd name="connsiteX6" fmla="*/ 586518 w 1072855"/>
              <a:gd name="connsiteY6" fmla="*/ 13016 h 3073972"/>
              <a:gd name="connsiteX7" fmla="*/ 921880 w 1072855"/>
              <a:gd name="connsiteY7" fmla="*/ 183791 h 3073972"/>
              <a:gd name="connsiteX8" fmla="*/ 1072855 w 1072855"/>
              <a:gd name="connsiteY8" fmla="*/ 1141616 h 3073972"/>
              <a:gd name="connsiteX9" fmla="*/ 921880 w 1072855"/>
              <a:gd name="connsiteY9" fmla="*/ 2099441 h 3073972"/>
              <a:gd name="connsiteX10" fmla="*/ 480711 w 1072855"/>
              <a:gd name="connsiteY10" fmla="*/ 2963835 h 3073972"/>
              <a:gd name="connsiteX11" fmla="*/ 266005 w 1072855"/>
              <a:gd name="connsiteY11" fmla="*/ 3073972 h 3073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72855" h="3073972">
                <a:moveTo>
                  <a:pt x="266005" y="3073972"/>
                </a:moveTo>
                <a:cubicBezTo>
                  <a:pt x="211555" y="3073972"/>
                  <a:pt x="157105" y="3057266"/>
                  <a:pt x="109461" y="3023235"/>
                </a:cubicBezTo>
                <a:cubicBezTo>
                  <a:pt x="-9339" y="2936610"/>
                  <a:pt x="-35326" y="2770166"/>
                  <a:pt x="50680" y="2651366"/>
                </a:cubicBezTo>
                <a:cubicBezTo>
                  <a:pt x="209699" y="2432947"/>
                  <a:pt x="332830" y="2192254"/>
                  <a:pt x="415742" y="1936091"/>
                </a:cubicBezTo>
                <a:cubicBezTo>
                  <a:pt x="498655" y="1680547"/>
                  <a:pt x="540730" y="1413866"/>
                  <a:pt x="540730" y="1142235"/>
                </a:cubicBezTo>
                <a:cubicBezTo>
                  <a:pt x="540730" y="870603"/>
                  <a:pt x="498655" y="603922"/>
                  <a:pt x="415742" y="348379"/>
                </a:cubicBezTo>
                <a:cubicBezTo>
                  <a:pt x="370574" y="208541"/>
                  <a:pt x="446680" y="58803"/>
                  <a:pt x="586518" y="13016"/>
                </a:cubicBezTo>
                <a:cubicBezTo>
                  <a:pt x="726355" y="-32153"/>
                  <a:pt x="876092" y="43953"/>
                  <a:pt x="921880" y="183791"/>
                </a:cubicBezTo>
                <a:cubicBezTo>
                  <a:pt x="1022117" y="492547"/>
                  <a:pt x="1072855" y="814916"/>
                  <a:pt x="1072855" y="1141616"/>
                </a:cubicBezTo>
                <a:cubicBezTo>
                  <a:pt x="1072855" y="1468316"/>
                  <a:pt x="1022117" y="1791304"/>
                  <a:pt x="921880" y="2099441"/>
                </a:cubicBezTo>
                <a:cubicBezTo>
                  <a:pt x="821643" y="2408816"/>
                  <a:pt x="673143" y="2699629"/>
                  <a:pt x="480711" y="2963835"/>
                </a:cubicBezTo>
                <a:cubicBezTo>
                  <a:pt x="429355" y="3036228"/>
                  <a:pt x="348299" y="3073972"/>
                  <a:pt x="266005" y="3073972"/>
                </a:cubicBezTo>
                <a:close/>
              </a:path>
            </a:pathLst>
          </a:custGeom>
          <a:solidFill>
            <a:schemeClr val="bg1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Graphic 6">
            <a:extLst>
              <a:ext uri="{FF2B5EF4-FFF2-40B4-BE49-F238E27FC236}">
                <a16:creationId xmlns:a16="http://schemas.microsoft.com/office/drawing/2014/main" id="{5387310E-7F05-4114-81F2-4053569CC46E}"/>
              </a:ext>
            </a:extLst>
          </p:cNvPr>
          <p:cNvSpPr/>
          <p:nvPr/>
        </p:nvSpPr>
        <p:spPr>
          <a:xfrm>
            <a:off x="9143847" y="329062"/>
            <a:ext cx="2197742" cy="1072912"/>
          </a:xfrm>
          <a:custGeom>
            <a:avLst/>
            <a:gdLst>
              <a:gd name="connsiteX0" fmla="*/ 1931738 w 2197742"/>
              <a:gd name="connsiteY0" fmla="*/ 1072913 h 1072912"/>
              <a:gd name="connsiteX1" fmla="*/ 1775194 w 2197742"/>
              <a:gd name="connsiteY1" fmla="*/ 1022175 h 1072912"/>
              <a:gd name="connsiteX2" fmla="*/ 1059919 w 2197742"/>
              <a:gd name="connsiteY2" fmla="*/ 657113 h 1072912"/>
              <a:gd name="connsiteX3" fmla="*/ 266063 w 2197742"/>
              <a:gd name="connsiteY3" fmla="*/ 532125 h 1072912"/>
              <a:gd name="connsiteX4" fmla="*/ 0 w 2197742"/>
              <a:gd name="connsiteY4" fmla="*/ 266063 h 1072912"/>
              <a:gd name="connsiteX5" fmla="*/ 266063 w 2197742"/>
              <a:gd name="connsiteY5" fmla="*/ 0 h 1072912"/>
              <a:gd name="connsiteX6" fmla="*/ 1223888 w 2197742"/>
              <a:gd name="connsiteY6" fmla="*/ 150975 h 1072912"/>
              <a:gd name="connsiteX7" fmla="*/ 2088281 w 2197742"/>
              <a:gd name="connsiteY7" fmla="*/ 592144 h 1072912"/>
              <a:gd name="connsiteX8" fmla="*/ 2147063 w 2197742"/>
              <a:gd name="connsiteY8" fmla="*/ 964012 h 1072912"/>
              <a:gd name="connsiteX9" fmla="*/ 1931738 w 2197742"/>
              <a:gd name="connsiteY9" fmla="*/ 1072913 h 107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97742" h="1072912">
                <a:moveTo>
                  <a:pt x="1931738" y="1072913"/>
                </a:moveTo>
                <a:cubicBezTo>
                  <a:pt x="1877288" y="1072913"/>
                  <a:pt x="1822838" y="1056206"/>
                  <a:pt x="1775194" y="1022175"/>
                </a:cubicBezTo>
                <a:cubicBezTo>
                  <a:pt x="1556775" y="863156"/>
                  <a:pt x="1316081" y="740025"/>
                  <a:pt x="1059919" y="657113"/>
                </a:cubicBezTo>
                <a:cubicBezTo>
                  <a:pt x="804375" y="574200"/>
                  <a:pt x="537694" y="532125"/>
                  <a:pt x="266063" y="532125"/>
                </a:cubicBezTo>
                <a:cubicBezTo>
                  <a:pt x="119419" y="532125"/>
                  <a:pt x="0" y="412706"/>
                  <a:pt x="0" y="266063"/>
                </a:cubicBezTo>
                <a:cubicBezTo>
                  <a:pt x="0" y="119419"/>
                  <a:pt x="119419" y="0"/>
                  <a:pt x="266063" y="0"/>
                </a:cubicBezTo>
                <a:cubicBezTo>
                  <a:pt x="593381" y="0"/>
                  <a:pt x="915750" y="50737"/>
                  <a:pt x="1223888" y="150975"/>
                </a:cubicBezTo>
                <a:cubicBezTo>
                  <a:pt x="1533263" y="251213"/>
                  <a:pt x="1824075" y="399713"/>
                  <a:pt x="2088281" y="592144"/>
                </a:cubicBezTo>
                <a:cubicBezTo>
                  <a:pt x="2207082" y="678769"/>
                  <a:pt x="2233069" y="845213"/>
                  <a:pt x="2147063" y="964012"/>
                </a:cubicBezTo>
                <a:cubicBezTo>
                  <a:pt x="2095088" y="1035169"/>
                  <a:pt x="2014031" y="1072913"/>
                  <a:pt x="1931738" y="1072913"/>
                </a:cubicBez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Graphic 6">
            <a:extLst>
              <a:ext uri="{FF2B5EF4-FFF2-40B4-BE49-F238E27FC236}">
                <a16:creationId xmlns:a16="http://schemas.microsoft.com/office/drawing/2014/main" id="{1EA9CE54-28D7-4249-AC89-C36183AFEA86}"/>
              </a:ext>
            </a:extLst>
          </p:cNvPr>
          <p:cNvSpPr/>
          <p:nvPr/>
        </p:nvSpPr>
        <p:spPr>
          <a:xfrm>
            <a:off x="6447696" y="869639"/>
            <a:ext cx="1562811" cy="1949273"/>
          </a:xfrm>
          <a:custGeom>
            <a:avLst/>
            <a:gdLst>
              <a:gd name="connsiteX0" fmla="*/ 266320 w 1562811"/>
              <a:gd name="connsiteY0" fmla="*/ 1949273 h 1949273"/>
              <a:gd name="connsiteX1" fmla="*/ 184026 w 1562811"/>
              <a:gd name="connsiteY1" fmla="*/ 1936279 h 1949273"/>
              <a:gd name="connsiteX2" fmla="*/ 13251 w 1562811"/>
              <a:gd name="connsiteY2" fmla="*/ 1600917 h 1949273"/>
              <a:gd name="connsiteX3" fmla="*/ 454420 w 1562811"/>
              <a:gd name="connsiteY3" fmla="*/ 736523 h 1949273"/>
              <a:gd name="connsiteX4" fmla="*/ 1139995 w 1562811"/>
              <a:gd name="connsiteY4" fmla="*/ 50948 h 1949273"/>
              <a:gd name="connsiteX5" fmla="*/ 1511864 w 1562811"/>
              <a:gd name="connsiteY5" fmla="*/ 109729 h 1949273"/>
              <a:gd name="connsiteX6" fmla="*/ 1453082 w 1562811"/>
              <a:gd name="connsiteY6" fmla="*/ 481598 h 1949273"/>
              <a:gd name="connsiteX7" fmla="*/ 884451 w 1562811"/>
              <a:gd name="connsiteY7" fmla="*/ 1050229 h 1949273"/>
              <a:gd name="connsiteX8" fmla="*/ 519389 w 1562811"/>
              <a:gd name="connsiteY8" fmla="*/ 1765504 h 1949273"/>
              <a:gd name="connsiteX9" fmla="*/ 266320 w 1562811"/>
              <a:gd name="connsiteY9" fmla="*/ 1949273 h 1949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62811" h="1949273">
                <a:moveTo>
                  <a:pt x="266320" y="1949273"/>
                </a:moveTo>
                <a:cubicBezTo>
                  <a:pt x="239095" y="1949273"/>
                  <a:pt x="211251" y="1944942"/>
                  <a:pt x="184026" y="1936279"/>
                </a:cubicBezTo>
                <a:cubicBezTo>
                  <a:pt x="44188" y="1891110"/>
                  <a:pt x="-32536" y="1740754"/>
                  <a:pt x="13251" y="1600917"/>
                </a:cubicBezTo>
                <a:cubicBezTo>
                  <a:pt x="113489" y="1291542"/>
                  <a:pt x="261989" y="1000729"/>
                  <a:pt x="454420" y="736523"/>
                </a:cubicBezTo>
                <a:cubicBezTo>
                  <a:pt x="646232" y="472935"/>
                  <a:pt x="876407" y="242760"/>
                  <a:pt x="1139995" y="50948"/>
                </a:cubicBezTo>
                <a:cubicBezTo>
                  <a:pt x="1258795" y="-35677"/>
                  <a:pt x="1425239" y="-9071"/>
                  <a:pt x="1511864" y="109729"/>
                </a:cubicBezTo>
                <a:cubicBezTo>
                  <a:pt x="1598489" y="228529"/>
                  <a:pt x="1571882" y="394973"/>
                  <a:pt x="1453082" y="481598"/>
                </a:cubicBezTo>
                <a:cubicBezTo>
                  <a:pt x="1234664" y="640617"/>
                  <a:pt x="1043470" y="831810"/>
                  <a:pt x="884451" y="1050229"/>
                </a:cubicBezTo>
                <a:cubicBezTo>
                  <a:pt x="725432" y="1268648"/>
                  <a:pt x="602301" y="1509342"/>
                  <a:pt x="519389" y="1765504"/>
                </a:cubicBezTo>
                <a:cubicBezTo>
                  <a:pt x="482882" y="1878117"/>
                  <a:pt x="378314" y="1949273"/>
                  <a:pt x="266320" y="1949273"/>
                </a:cubicBezTo>
                <a:close/>
              </a:path>
            </a:pathLst>
          </a:custGeom>
          <a:solidFill>
            <a:schemeClr val="bg1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Graphic 6">
            <a:extLst>
              <a:ext uri="{FF2B5EF4-FFF2-40B4-BE49-F238E27FC236}">
                <a16:creationId xmlns:a16="http://schemas.microsoft.com/office/drawing/2014/main" id="{329B7472-309C-455C-8D51-791C335BEEA7}"/>
              </a:ext>
            </a:extLst>
          </p:cNvPr>
          <p:cNvSpPr/>
          <p:nvPr/>
        </p:nvSpPr>
        <p:spPr>
          <a:xfrm>
            <a:off x="6447931" y="4038446"/>
            <a:ext cx="935164" cy="1322291"/>
          </a:xfrm>
          <a:custGeom>
            <a:avLst/>
            <a:gdLst>
              <a:gd name="connsiteX0" fmla="*/ 669510 w 935164"/>
              <a:gd name="connsiteY0" fmla="*/ 1322291 h 1322291"/>
              <a:gd name="connsiteX1" fmla="*/ 454185 w 935164"/>
              <a:gd name="connsiteY1" fmla="*/ 1212772 h 1322291"/>
              <a:gd name="connsiteX2" fmla="*/ 13016 w 935164"/>
              <a:gd name="connsiteY2" fmla="*/ 348379 h 1322291"/>
              <a:gd name="connsiteX3" fmla="*/ 183791 w 935164"/>
              <a:gd name="connsiteY3" fmla="*/ 13016 h 1322291"/>
              <a:gd name="connsiteX4" fmla="*/ 519154 w 935164"/>
              <a:gd name="connsiteY4" fmla="*/ 183791 h 1322291"/>
              <a:gd name="connsiteX5" fmla="*/ 884216 w 935164"/>
              <a:gd name="connsiteY5" fmla="*/ 899066 h 1322291"/>
              <a:gd name="connsiteX6" fmla="*/ 825435 w 935164"/>
              <a:gd name="connsiteY6" fmla="*/ 1270935 h 1322291"/>
              <a:gd name="connsiteX7" fmla="*/ 669510 w 935164"/>
              <a:gd name="connsiteY7" fmla="*/ 1322291 h 132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5164" h="1322291">
                <a:moveTo>
                  <a:pt x="669510" y="1322291"/>
                </a:moveTo>
                <a:cubicBezTo>
                  <a:pt x="587216" y="1322291"/>
                  <a:pt x="506160" y="1284547"/>
                  <a:pt x="454185" y="1212772"/>
                </a:cubicBezTo>
                <a:cubicBezTo>
                  <a:pt x="261754" y="948566"/>
                  <a:pt x="113872" y="657754"/>
                  <a:pt x="13016" y="348379"/>
                </a:cubicBezTo>
                <a:cubicBezTo>
                  <a:pt x="-32153" y="208541"/>
                  <a:pt x="43953" y="58804"/>
                  <a:pt x="183791" y="13016"/>
                </a:cubicBezTo>
                <a:cubicBezTo>
                  <a:pt x="323629" y="-32153"/>
                  <a:pt x="473366" y="43953"/>
                  <a:pt x="519154" y="183791"/>
                </a:cubicBezTo>
                <a:cubicBezTo>
                  <a:pt x="602066" y="439953"/>
                  <a:pt x="725197" y="680647"/>
                  <a:pt x="884216" y="899066"/>
                </a:cubicBezTo>
                <a:cubicBezTo>
                  <a:pt x="970841" y="1017866"/>
                  <a:pt x="944235" y="1184310"/>
                  <a:pt x="825435" y="1270935"/>
                </a:cubicBezTo>
                <a:cubicBezTo>
                  <a:pt x="778410" y="1306204"/>
                  <a:pt x="723960" y="1322291"/>
                  <a:pt x="669510" y="1322291"/>
                </a:cubicBezTo>
                <a:close/>
              </a:path>
            </a:pathLst>
          </a:custGeom>
          <a:solidFill>
            <a:schemeClr val="tx1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Graphic 6">
            <a:extLst>
              <a:ext uri="{FF2B5EF4-FFF2-40B4-BE49-F238E27FC236}">
                <a16:creationId xmlns:a16="http://schemas.microsoft.com/office/drawing/2014/main" id="{8F8B30FD-E3E1-4208-A464-1CDDD5B8FF75}"/>
              </a:ext>
            </a:extLst>
          </p:cNvPr>
          <p:cNvSpPr/>
          <p:nvPr/>
        </p:nvSpPr>
        <p:spPr>
          <a:xfrm>
            <a:off x="7478229" y="5455463"/>
            <a:ext cx="2197742" cy="1073473"/>
          </a:xfrm>
          <a:custGeom>
            <a:avLst/>
            <a:gdLst>
              <a:gd name="connsiteX0" fmla="*/ 1931680 w 2197742"/>
              <a:gd name="connsiteY0" fmla="*/ 1073474 h 1073473"/>
              <a:gd name="connsiteX1" fmla="*/ 973855 w 2197742"/>
              <a:gd name="connsiteY1" fmla="*/ 922499 h 1073473"/>
              <a:gd name="connsiteX2" fmla="*/ 109461 w 2197742"/>
              <a:gd name="connsiteY2" fmla="*/ 481330 h 1073473"/>
              <a:gd name="connsiteX3" fmla="*/ 50680 w 2197742"/>
              <a:gd name="connsiteY3" fmla="*/ 109461 h 1073473"/>
              <a:gd name="connsiteX4" fmla="*/ 422549 w 2197742"/>
              <a:gd name="connsiteY4" fmla="*/ 50680 h 1073473"/>
              <a:gd name="connsiteX5" fmla="*/ 1137824 w 2197742"/>
              <a:gd name="connsiteY5" fmla="*/ 415742 h 1073473"/>
              <a:gd name="connsiteX6" fmla="*/ 1931680 w 2197742"/>
              <a:gd name="connsiteY6" fmla="*/ 540730 h 1073473"/>
              <a:gd name="connsiteX7" fmla="*/ 2197743 w 2197742"/>
              <a:gd name="connsiteY7" fmla="*/ 806793 h 1073473"/>
              <a:gd name="connsiteX8" fmla="*/ 1931680 w 2197742"/>
              <a:gd name="connsiteY8" fmla="*/ 1073474 h 1073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7742" h="1073473">
                <a:moveTo>
                  <a:pt x="1931680" y="1073474"/>
                </a:moveTo>
                <a:cubicBezTo>
                  <a:pt x="1604361" y="1073474"/>
                  <a:pt x="1281993" y="1022737"/>
                  <a:pt x="973855" y="922499"/>
                </a:cubicBezTo>
                <a:cubicBezTo>
                  <a:pt x="664480" y="822261"/>
                  <a:pt x="373668" y="673761"/>
                  <a:pt x="109461" y="481330"/>
                </a:cubicBezTo>
                <a:cubicBezTo>
                  <a:pt x="-9339" y="394705"/>
                  <a:pt x="-35326" y="228261"/>
                  <a:pt x="50680" y="109461"/>
                </a:cubicBezTo>
                <a:cubicBezTo>
                  <a:pt x="137305" y="-9339"/>
                  <a:pt x="303749" y="-35326"/>
                  <a:pt x="422549" y="50680"/>
                </a:cubicBezTo>
                <a:cubicBezTo>
                  <a:pt x="640968" y="209699"/>
                  <a:pt x="881661" y="332830"/>
                  <a:pt x="1137824" y="415742"/>
                </a:cubicBezTo>
                <a:cubicBezTo>
                  <a:pt x="1393368" y="498655"/>
                  <a:pt x="1660049" y="540730"/>
                  <a:pt x="1931680" y="540730"/>
                </a:cubicBezTo>
                <a:cubicBezTo>
                  <a:pt x="2078324" y="540730"/>
                  <a:pt x="2197743" y="660149"/>
                  <a:pt x="2197743" y="806793"/>
                </a:cubicBezTo>
                <a:cubicBezTo>
                  <a:pt x="2197743" y="953436"/>
                  <a:pt x="2078324" y="1073474"/>
                  <a:pt x="1931680" y="1073474"/>
                </a:cubicBez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Graphic 6">
            <a:extLst>
              <a:ext uri="{FF2B5EF4-FFF2-40B4-BE49-F238E27FC236}">
                <a16:creationId xmlns:a16="http://schemas.microsoft.com/office/drawing/2014/main" id="{7CE09225-5C6D-4AF7-8811-059B0A4621EA}"/>
              </a:ext>
            </a:extLst>
          </p:cNvPr>
          <p:cNvSpPr/>
          <p:nvPr/>
        </p:nvSpPr>
        <p:spPr>
          <a:xfrm>
            <a:off x="12292723" y="1960065"/>
            <a:ext cx="1275186" cy="4022515"/>
          </a:xfrm>
          <a:custGeom>
            <a:avLst/>
            <a:gdLst>
              <a:gd name="connsiteX0" fmla="*/ 266005 w 1275186"/>
              <a:gd name="connsiteY0" fmla="*/ 4022516 h 4022515"/>
              <a:gd name="connsiteX1" fmla="*/ 109461 w 1275186"/>
              <a:gd name="connsiteY1" fmla="*/ 3971779 h 4022515"/>
              <a:gd name="connsiteX2" fmla="*/ 50680 w 1275186"/>
              <a:gd name="connsiteY2" fmla="*/ 3599910 h 4022515"/>
              <a:gd name="connsiteX3" fmla="*/ 566099 w 1275186"/>
              <a:gd name="connsiteY3" fmla="*/ 2589491 h 4022515"/>
              <a:gd name="connsiteX4" fmla="*/ 742443 w 1275186"/>
              <a:gd name="connsiteY4" fmla="*/ 1468935 h 4022515"/>
              <a:gd name="connsiteX5" fmla="*/ 566099 w 1275186"/>
              <a:gd name="connsiteY5" fmla="*/ 348378 h 4022515"/>
              <a:gd name="connsiteX6" fmla="*/ 736874 w 1275186"/>
              <a:gd name="connsiteY6" fmla="*/ 13016 h 4022515"/>
              <a:gd name="connsiteX7" fmla="*/ 1072236 w 1275186"/>
              <a:gd name="connsiteY7" fmla="*/ 183791 h 4022515"/>
              <a:gd name="connsiteX8" fmla="*/ 1275187 w 1275186"/>
              <a:gd name="connsiteY8" fmla="*/ 1468935 h 4022515"/>
              <a:gd name="connsiteX9" fmla="*/ 1072856 w 1275186"/>
              <a:gd name="connsiteY9" fmla="*/ 2754079 h 4022515"/>
              <a:gd name="connsiteX10" fmla="*/ 481330 w 1275186"/>
              <a:gd name="connsiteY10" fmla="*/ 3912997 h 4022515"/>
              <a:gd name="connsiteX11" fmla="*/ 266005 w 1275186"/>
              <a:gd name="connsiteY11" fmla="*/ 4022516 h 4022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186" h="4022515">
                <a:moveTo>
                  <a:pt x="266005" y="4022516"/>
                </a:moveTo>
                <a:cubicBezTo>
                  <a:pt x="211555" y="4022516"/>
                  <a:pt x="157105" y="4005810"/>
                  <a:pt x="109461" y="3971779"/>
                </a:cubicBezTo>
                <a:cubicBezTo>
                  <a:pt x="-9338" y="3885154"/>
                  <a:pt x="-35326" y="3718710"/>
                  <a:pt x="50680" y="3599910"/>
                </a:cubicBezTo>
                <a:cubicBezTo>
                  <a:pt x="275287" y="3291154"/>
                  <a:pt x="449155" y="2951460"/>
                  <a:pt x="566099" y="2589491"/>
                </a:cubicBezTo>
                <a:cubicBezTo>
                  <a:pt x="683043" y="2228760"/>
                  <a:pt x="742443" y="1851941"/>
                  <a:pt x="742443" y="1468935"/>
                </a:cubicBezTo>
                <a:cubicBezTo>
                  <a:pt x="742443" y="1085928"/>
                  <a:pt x="683043" y="708491"/>
                  <a:pt x="566099" y="348378"/>
                </a:cubicBezTo>
                <a:cubicBezTo>
                  <a:pt x="520930" y="208541"/>
                  <a:pt x="597037" y="58803"/>
                  <a:pt x="736874" y="13016"/>
                </a:cubicBezTo>
                <a:cubicBezTo>
                  <a:pt x="876711" y="-32153"/>
                  <a:pt x="1026449" y="43954"/>
                  <a:pt x="1072236" y="183791"/>
                </a:cubicBezTo>
                <a:cubicBezTo>
                  <a:pt x="1207124" y="597735"/>
                  <a:pt x="1275187" y="1030241"/>
                  <a:pt x="1275187" y="1468935"/>
                </a:cubicBezTo>
                <a:cubicBezTo>
                  <a:pt x="1275187" y="1907629"/>
                  <a:pt x="1207124" y="2340135"/>
                  <a:pt x="1072856" y="2754079"/>
                </a:cubicBezTo>
                <a:cubicBezTo>
                  <a:pt x="937968" y="3169260"/>
                  <a:pt x="739349" y="3559072"/>
                  <a:pt x="481330" y="3912997"/>
                </a:cubicBezTo>
                <a:cubicBezTo>
                  <a:pt x="429356" y="3984772"/>
                  <a:pt x="348299" y="4022516"/>
                  <a:pt x="266005" y="4022516"/>
                </a:cubicBezTo>
                <a:close/>
              </a:path>
            </a:pathLst>
          </a:custGeom>
          <a:solidFill>
            <a:schemeClr val="tx1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Graphic 6">
            <a:extLst>
              <a:ext uri="{FF2B5EF4-FFF2-40B4-BE49-F238E27FC236}">
                <a16:creationId xmlns:a16="http://schemas.microsoft.com/office/drawing/2014/main" id="{E038AA9E-8D22-4829-9DEC-ADC1592F51B9}"/>
              </a:ext>
            </a:extLst>
          </p:cNvPr>
          <p:cNvSpPr/>
          <p:nvPr/>
        </p:nvSpPr>
        <p:spPr>
          <a:xfrm>
            <a:off x="6856117" y="-729000"/>
            <a:ext cx="5107315" cy="1275243"/>
          </a:xfrm>
          <a:custGeom>
            <a:avLst/>
            <a:gdLst>
              <a:gd name="connsiteX0" fmla="*/ 4841311 w 5107315"/>
              <a:gd name="connsiteY0" fmla="*/ 1275244 h 1275243"/>
              <a:gd name="connsiteX1" fmla="*/ 4684767 w 5107315"/>
              <a:gd name="connsiteY1" fmla="*/ 1224506 h 1275243"/>
              <a:gd name="connsiteX2" fmla="*/ 3674348 w 5107315"/>
              <a:gd name="connsiteY2" fmla="*/ 709088 h 1275243"/>
              <a:gd name="connsiteX3" fmla="*/ 2553792 w 5107315"/>
              <a:gd name="connsiteY3" fmla="*/ 532125 h 1275243"/>
              <a:gd name="connsiteX4" fmla="*/ 1433236 w 5107315"/>
              <a:gd name="connsiteY4" fmla="*/ 708469 h 1275243"/>
              <a:gd name="connsiteX5" fmla="*/ 422817 w 5107315"/>
              <a:gd name="connsiteY5" fmla="*/ 1223888 h 1275243"/>
              <a:gd name="connsiteX6" fmla="*/ 50948 w 5107315"/>
              <a:gd name="connsiteY6" fmla="*/ 1165106 h 1275243"/>
              <a:gd name="connsiteX7" fmla="*/ 109729 w 5107315"/>
              <a:gd name="connsiteY7" fmla="*/ 793238 h 1275243"/>
              <a:gd name="connsiteX8" fmla="*/ 1268648 w 5107315"/>
              <a:gd name="connsiteY8" fmla="*/ 201712 h 1275243"/>
              <a:gd name="connsiteX9" fmla="*/ 2553792 w 5107315"/>
              <a:gd name="connsiteY9" fmla="*/ 0 h 1275243"/>
              <a:gd name="connsiteX10" fmla="*/ 3838936 w 5107315"/>
              <a:gd name="connsiteY10" fmla="*/ 202331 h 1275243"/>
              <a:gd name="connsiteX11" fmla="*/ 4997855 w 5107315"/>
              <a:gd name="connsiteY11" fmla="*/ 793856 h 1275243"/>
              <a:gd name="connsiteX12" fmla="*/ 5056636 w 5107315"/>
              <a:gd name="connsiteY12" fmla="*/ 1165725 h 1275243"/>
              <a:gd name="connsiteX13" fmla="*/ 4841311 w 5107315"/>
              <a:gd name="connsiteY13" fmla="*/ 1275244 h 1275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107315" h="1275243">
                <a:moveTo>
                  <a:pt x="4841311" y="1275244"/>
                </a:moveTo>
                <a:cubicBezTo>
                  <a:pt x="4786861" y="1275244"/>
                  <a:pt x="4732411" y="1258538"/>
                  <a:pt x="4684767" y="1224506"/>
                </a:cubicBezTo>
                <a:cubicBezTo>
                  <a:pt x="4376011" y="999900"/>
                  <a:pt x="4036317" y="826031"/>
                  <a:pt x="3674348" y="709088"/>
                </a:cubicBezTo>
                <a:cubicBezTo>
                  <a:pt x="3314236" y="591525"/>
                  <a:pt x="2936798" y="532125"/>
                  <a:pt x="2553792" y="532125"/>
                </a:cubicBezTo>
                <a:cubicBezTo>
                  <a:pt x="2170786" y="532125"/>
                  <a:pt x="1793348" y="591525"/>
                  <a:pt x="1433236" y="708469"/>
                </a:cubicBezTo>
                <a:cubicBezTo>
                  <a:pt x="1071886" y="826031"/>
                  <a:pt x="731573" y="999281"/>
                  <a:pt x="422817" y="1223888"/>
                </a:cubicBezTo>
                <a:cubicBezTo>
                  <a:pt x="304017" y="1310513"/>
                  <a:pt x="137573" y="1283906"/>
                  <a:pt x="50948" y="1165106"/>
                </a:cubicBezTo>
                <a:cubicBezTo>
                  <a:pt x="-35677" y="1046306"/>
                  <a:pt x="-9071" y="879863"/>
                  <a:pt x="109729" y="793238"/>
                </a:cubicBezTo>
                <a:cubicBezTo>
                  <a:pt x="463654" y="535219"/>
                  <a:pt x="854085" y="336600"/>
                  <a:pt x="1268648" y="201712"/>
                </a:cubicBezTo>
                <a:cubicBezTo>
                  <a:pt x="1682592" y="68063"/>
                  <a:pt x="2115098" y="0"/>
                  <a:pt x="2553792" y="0"/>
                </a:cubicBezTo>
                <a:cubicBezTo>
                  <a:pt x="2992486" y="0"/>
                  <a:pt x="3424992" y="68063"/>
                  <a:pt x="3838936" y="202331"/>
                </a:cubicBezTo>
                <a:cubicBezTo>
                  <a:pt x="4254117" y="337219"/>
                  <a:pt x="4643930" y="535838"/>
                  <a:pt x="4997855" y="793856"/>
                </a:cubicBezTo>
                <a:cubicBezTo>
                  <a:pt x="5116654" y="880481"/>
                  <a:pt x="5142642" y="1046925"/>
                  <a:pt x="5056636" y="1165725"/>
                </a:cubicBezTo>
                <a:cubicBezTo>
                  <a:pt x="5004661" y="1237500"/>
                  <a:pt x="4923605" y="1275244"/>
                  <a:pt x="4841311" y="1275244"/>
                </a:cubicBezTo>
                <a:close/>
              </a:path>
            </a:pathLst>
          </a:custGeom>
          <a:solidFill>
            <a:schemeClr val="tx1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Graphic 6">
            <a:extLst>
              <a:ext uri="{FF2B5EF4-FFF2-40B4-BE49-F238E27FC236}">
                <a16:creationId xmlns:a16="http://schemas.microsoft.com/office/drawing/2014/main" id="{C8012D67-BBD7-43B2-B37A-18A31D521B76}"/>
              </a:ext>
            </a:extLst>
          </p:cNvPr>
          <p:cNvSpPr/>
          <p:nvPr/>
        </p:nvSpPr>
        <p:spPr>
          <a:xfrm>
            <a:off x="5251909" y="1959830"/>
            <a:ext cx="721719" cy="2938082"/>
          </a:xfrm>
          <a:custGeom>
            <a:avLst/>
            <a:gdLst>
              <a:gd name="connsiteX0" fmla="*/ 455400 w 721719"/>
              <a:gd name="connsiteY0" fmla="*/ 2938083 h 2938082"/>
              <a:gd name="connsiteX1" fmla="*/ 202331 w 721719"/>
              <a:gd name="connsiteY1" fmla="*/ 2754314 h 2938082"/>
              <a:gd name="connsiteX2" fmla="*/ 0 w 721719"/>
              <a:gd name="connsiteY2" fmla="*/ 1469170 h 2938082"/>
              <a:gd name="connsiteX3" fmla="*/ 202331 w 721719"/>
              <a:gd name="connsiteY3" fmla="*/ 184026 h 2938082"/>
              <a:gd name="connsiteX4" fmla="*/ 537694 w 721719"/>
              <a:gd name="connsiteY4" fmla="*/ 13251 h 2938082"/>
              <a:gd name="connsiteX5" fmla="*/ 708469 w 721719"/>
              <a:gd name="connsiteY5" fmla="*/ 348613 h 2938082"/>
              <a:gd name="connsiteX6" fmla="*/ 532125 w 721719"/>
              <a:gd name="connsiteY6" fmla="*/ 1469170 h 2938082"/>
              <a:gd name="connsiteX7" fmla="*/ 708469 w 721719"/>
              <a:gd name="connsiteY7" fmla="*/ 2589726 h 2938082"/>
              <a:gd name="connsiteX8" fmla="*/ 537694 w 721719"/>
              <a:gd name="connsiteY8" fmla="*/ 2925089 h 2938082"/>
              <a:gd name="connsiteX9" fmla="*/ 455400 w 721719"/>
              <a:gd name="connsiteY9" fmla="*/ 2938083 h 293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1719" h="2938082">
                <a:moveTo>
                  <a:pt x="455400" y="2938083"/>
                </a:moveTo>
                <a:cubicBezTo>
                  <a:pt x="343406" y="2938083"/>
                  <a:pt x="238838" y="2866307"/>
                  <a:pt x="202331" y="2754314"/>
                </a:cubicBezTo>
                <a:cubicBezTo>
                  <a:pt x="68063" y="2340370"/>
                  <a:pt x="0" y="1907864"/>
                  <a:pt x="0" y="1469170"/>
                </a:cubicBezTo>
                <a:cubicBezTo>
                  <a:pt x="0" y="1030476"/>
                  <a:pt x="68063" y="597970"/>
                  <a:pt x="202331" y="184026"/>
                </a:cubicBezTo>
                <a:cubicBezTo>
                  <a:pt x="247500" y="44189"/>
                  <a:pt x="397856" y="-32537"/>
                  <a:pt x="537694" y="13251"/>
                </a:cubicBezTo>
                <a:cubicBezTo>
                  <a:pt x="677531" y="58420"/>
                  <a:pt x="754256" y="208776"/>
                  <a:pt x="708469" y="348613"/>
                </a:cubicBezTo>
                <a:cubicBezTo>
                  <a:pt x="591525" y="708726"/>
                  <a:pt x="532125" y="1086163"/>
                  <a:pt x="532125" y="1469170"/>
                </a:cubicBezTo>
                <a:cubicBezTo>
                  <a:pt x="532125" y="1852176"/>
                  <a:pt x="591525" y="2229614"/>
                  <a:pt x="708469" y="2589726"/>
                </a:cubicBezTo>
                <a:cubicBezTo>
                  <a:pt x="753638" y="2729564"/>
                  <a:pt x="677531" y="2879301"/>
                  <a:pt x="537694" y="2925089"/>
                </a:cubicBezTo>
                <a:cubicBezTo>
                  <a:pt x="510469" y="2934370"/>
                  <a:pt x="482625" y="2938083"/>
                  <a:pt x="455400" y="2938083"/>
                </a:cubicBezTo>
                <a:close/>
              </a:path>
            </a:pathLst>
          </a:custGeom>
          <a:noFill/>
          <a:ln w="158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Graphic 6">
            <a:extLst>
              <a:ext uri="{FF2B5EF4-FFF2-40B4-BE49-F238E27FC236}">
                <a16:creationId xmlns:a16="http://schemas.microsoft.com/office/drawing/2014/main" id="{09A0ABD0-6607-4169-BE7A-9AC2FB86863C}"/>
              </a:ext>
            </a:extLst>
          </p:cNvPr>
          <p:cNvSpPr/>
          <p:nvPr/>
        </p:nvSpPr>
        <p:spPr>
          <a:xfrm>
            <a:off x="5995436" y="5450864"/>
            <a:ext cx="4884026" cy="2136135"/>
          </a:xfrm>
          <a:custGeom>
            <a:avLst/>
            <a:gdLst>
              <a:gd name="connsiteX0" fmla="*/ 3414473 w 4884026"/>
              <a:gd name="connsiteY0" fmla="*/ 2136136 h 2136135"/>
              <a:gd name="connsiteX1" fmla="*/ 2129329 w 4884026"/>
              <a:gd name="connsiteY1" fmla="*/ 1933805 h 2136135"/>
              <a:gd name="connsiteX2" fmla="*/ 970411 w 4884026"/>
              <a:gd name="connsiteY2" fmla="*/ 1342279 h 2136135"/>
              <a:gd name="connsiteX3" fmla="*/ 50948 w 4884026"/>
              <a:gd name="connsiteY3" fmla="*/ 422817 h 2136135"/>
              <a:gd name="connsiteX4" fmla="*/ 109729 w 4884026"/>
              <a:gd name="connsiteY4" fmla="*/ 50948 h 2136135"/>
              <a:gd name="connsiteX5" fmla="*/ 481598 w 4884026"/>
              <a:gd name="connsiteY5" fmla="*/ 109729 h 2136135"/>
              <a:gd name="connsiteX6" fmla="*/ 1284117 w 4884026"/>
              <a:gd name="connsiteY6" fmla="*/ 912248 h 2136135"/>
              <a:gd name="connsiteX7" fmla="*/ 2294536 w 4884026"/>
              <a:gd name="connsiteY7" fmla="*/ 1427667 h 2136135"/>
              <a:gd name="connsiteX8" fmla="*/ 3415092 w 4884026"/>
              <a:gd name="connsiteY8" fmla="*/ 1604011 h 2136135"/>
              <a:gd name="connsiteX9" fmla="*/ 4535649 w 4884026"/>
              <a:gd name="connsiteY9" fmla="*/ 1427667 h 2136135"/>
              <a:gd name="connsiteX10" fmla="*/ 4871011 w 4884026"/>
              <a:gd name="connsiteY10" fmla="*/ 1598442 h 2136135"/>
              <a:gd name="connsiteX11" fmla="*/ 4700236 w 4884026"/>
              <a:gd name="connsiteY11" fmla="*/ 1933805 h 2136135"/>
              <a:gd name="connsiteX12" fmla="*/ 3414473 w 4884026"/>
              <a:gd name="connsiteY12" fmla="*/ 2136136 h 2136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84026" h="2136135">
                <a:moveTo>
                  <a:pt x="3414473" y="2136136"/>
                </a:moveTo>
                <a:cubicBezTo>
                  <a:pt x="2975779" y="2136136"/>
                  <a:pt x="2543273" y="2068073"/>
                  <a:pt x="2129329" y="1933805"/>
                </a:cubicBezTo>
                <a:cubicBezTo>
                  <a:pt x="1714148" y="1798917"/>
                  <a:pt x="1324336" y="1600298"/>
                  <a:pt x="970411" y="1342279"/>
                </a:cubicBezTo>
                <a:cubicBezTo>
                  <a:pt x="617104" y="1085498"/>
                  <a:pt x="307729" y="776123"/>
                  <a:pt x="50948" y="422817"/>
                </a:cubicBezTo>
                <a:cubicBezTo>
                  <a:pt x="-35677" y="304017"/>
                  <a:pt x="-9071" y="137573"/>
                  <a:pt x="109729" y="50948"/>
                </a:cubicBezTo>
                <a:cubicBezTo>
                  <a:pt x="228529" y="-35677"/>
                  <a:pt x="394973" y="-9071"/>
                  <a:pt x="481598" y="109729"/>
                </a:cubicBezTo>
                <a:cubicBezTo>
                  <a:pt x="706204" y="417867"/>
                  <a:pt x="975979" y="687642"/>
                  <a:pt x="1284117" y="912248"/>
                </a:cubicBezTo>
                <a:cubicBezTo>
                  <a:pt x="1592873" y="1136854"/>
                  <a:pt x="1932567" y="1310723"/>
                  <a:pt x="2294536" y="1427667"/>
                </a:cubicBezTo>
                <a:cubicBezTo>
                  <a:pt x="2655267" y="1544611"/>
                  <a:pt x="3032086" y="1604011"/>
                  <a:pt x="3415092" y="1604011"/>
                </a:cubicBezTo>
                <a:cubicBezTo>
                  <a:pt x="3798098" y="1604011"/>
                  <a:pt x="4175536" y="1544611"/>
                  <a:pt x="4535649" y="1427667"/>
                </a:cubicBezTo>
                <a:cubicBezTo>
                  <a:pt x="4675486" y="1382498"/>
                  <a:pt x="4825223" y="1458604"/>
                  <a:pt x="4871011" y="1598442"/>
                </a:cubicBezTo>
                <a:cubicBezTo>
                  <a:pt x="4916180" y="1738279"/>
                  <a:pt x="4840074" y="1888017"/>
                  <a:pt x="4700236" y="1933805"/>
                </a:cubicBezTo>
                <a:cubicBezTo>
                  <a:pt x="4285673" y="2068073"/>
                  <a:pt x="3853167" y="2136136"/>
                  <a:pt x="3414473" y="2136136"/>
                </a:cubicBezTo>
                <a:close/>
              </a:path>
            </a:pathLst>
          </a:custGeom>
          <a:solidFill>
            <a:schemeClr val="bg1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Graphic 6">
            <a:extLst>
              <a:ext uri="{FF2B5EF4-FFF2-40B4-BE49-F238E27FC236}">
                <a16:creationId xmlns:a16="http://schemas.microsoft.com/office/drawing/2014/main" id="{05247D60-B3EB-4B79-8456-2079F5FF9A68}"/>
              </a:ext>
            </a:extLst>
          </p:cNvPr>
          <p:cNvSpPr/>
          <p:nvPr/>
        </p:nvSpPr>
        <p:spPr>
          <a:xfrm>
            <a:off x="6309972" y="3162937"/>
            <a:ext cx="532125" cy="532125"/>
          </a:xfrm>
          <a:custGeom>
            <a:avLst/>
            <a:gdLst>
              <a:gd name="connsiteX0" fmla="*/ 532125 w 532125"/>
              <a:gd name="connsiteY0" fmla="*/ 266063 h 532125"/>
              <a:gd name="connsiteX1" fmla="*/ 266063 w 532125"/>
              <a:gd name="connsiteY1" fmla="*/ 532125 h 532125"/>
              <a:gd name="connsiteX2" fmla="*/ 0 w 532125"/>
              <a:gd name="connsiteY2" fmla="*/ 266063 h 532125"/>
              <a:gd name="connsiteX3" fmla="*/ 266063 w 532125"/>
              <a:gd name="connsiteY3" fmla="*/ 0 h 532125"/>
              <a:gd name="connsiteX4" fmla="*/ 532125 w 532125"/>
              <a:gd name="connsiteY4" fmla="*/ 266063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3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3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3"/>
                </a:cubicBez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Graphic 6">
            <a:extLst>
              <a:ext uri="{FF2B5EF4-FFF2-40B4-BE49-F238E27FC236}">
                <a16:creationId xmlns:a16="http://schemas.microsoft.com/office/drawing/2014/main" id="{FDE469FA-EA44-421C-97E0-BD156400EC41}"/>
              </a:ext>
            </a:extLst>
          </p:cNvPr>
          <p:cNvSpPr/>
          <p:nvPr/>
        </p:nvSpPr>
        <p:spPr>
          <a:xfrm>
            <a:off x="11436316" y="1497262"/>
            <a:ext cx="532125" cy="532125"/>
          </a:xfrm>
          <a:custGeom>
            <a:avLst/>
            <a:gdLst>
              <a:gd name="connsiteX0" fmla="*/ 532125 w 532125"/>
              <a:gd name="connsiteY0" fmla="*/ 266062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2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2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2"/>
                </a:cubicBez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Graphic 6">
            <a:extLst>
              <a:ext uri="{FF2B5EF4-FFF2-40B4-BE49-F238E27FC236}">
                <a16:creationId xmlns:a16="http://schemas.microsoft.com/office/drawing/2014/main" id="{6833BC13-AA0F-4883-B0C6-7CD0AE30BC55}"/>
              </a:ext>
            </a:extLst>
          </p:cNvPr>
          <p:cNvSpPr/>
          <p:nvPr/>
        </p:nvSpPr>
        <p:spPr>
          <a:xfrm>
            <a:off x="8269553" y="457762"/>
            <a:ext cx="532125" cy="532125"/>
          </a:xfrm>
          <a:custGeom>
            <a:avLst/>
            <a:gdLst>
              <a:gd name="connsiteX0" fmla="*/ 532125 w 532125"/>
              <a:gd name="connsiteY0" fmla="*/ 266063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3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3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3"/>
                </a:cubicBezTo>
                <a:close/>
              </a:path>
            </a:pathLst>
          </a:custGeom>
          <a:solidFill>
            <a:schemeClr val="bg1"/>
          </a:solidFill>
          <a:ln w="618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Graphic 6">
            <a:extLst>
              <a:ext uri="{FF2B5EF4-FFF2-40B4-BE49-F238E27FC236}">
                <a16:creationId xmlns:a16="http://schemas.microsoft.com/office/drawing/2014/main" id="{4C54CC5E-06DA-4EE1-B442-B57738A4F188}"/>
              </a:ext>
            </a:extLst>
          </p:cNvPr>
          <p:cNvSpPr/>
          <p:nvPr/>
        </p:nvSpPr>
        <p:spPr>
          <a:xfrm>
            <a:off x="5995028" y="875418"/>
            <a:ext cx="532125" cy="532125"/>
          </a:xfrm>
          <a:custGeom>
            <a:avLst/>
            <a:gdLst>
              <a:gd name="connsiteX0" fmla="*/ 532125 w 532125"/>
              <a:gd name="connsiteY0" fmla="*/ 266062 h 532125"/>
              <a:gd name="connsiteX1" fmla="*/ 266063 w 532125"/>
              <a:gd name="connsiteY1" fmla="*/ 532125 h 532125"/>
              <a:gd name="connsiteX2" fmla="*/ 0 w 532125"/>
              <a:gd name="connsiteY2" fmla="*/ 266062 h 532125"/>
              <a:gd name="connsiteX3" fmla="*/ 266063 w 532125"/>
              <a:gd name="connsiteY3" fmla="*/ 0 h 532125"/>
              <a:gd name="connsiteX4" fmla="*/ 532125 w 532125"/>
              <a:gd name="connsiteY4" fmla="*/ 266062 h 53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25" h="532125">
                <a:moveTo>
                  <a:pt x="532125" y="266062"/>
                </a:moveTo>
                <a:cubicBezTo>
                  <a:pt x="532125" y="413005"/>
                  <a:pt x="413005" y="532125"/>
                  <a:pt x="266063" y="532125"/>
                </a:cubicBezTo>
                <a:cubicBezTo>
                  <a:pt x="119120" y="532125"/>
                  <a:pt x="0" y="413005"/>
                  <a:pt x="0" y="266062"/>
                </a:cubicBezTo>
                <a:cubicBezTo>
                  <a:pt x="0" y="119120"/>
                  <a:pt x="119120" y="0"/>
                  <a:pt x="266063" y="0"/>
                </a:cubicBezTo>
                <a:cubicBezTo>
                  <a:pt x="413005" y="0"/>
                  <a:pt x="532125" y="119120"/>
                  <a:pt x="532125" y="266062"/>
                </a:cubicBezTo>
                <a:close/>
              </a:path>
            </a:pathLst>
          </a:custGeom>
          <a:noFill/>
          <a:ln w="158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85E2FCEA-ED9A-4AA0-B78F-A8A31A7C30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806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4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enda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14A347-3935-4328-90B5-68E3E09AAA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62138" y="2226396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4" y="3186832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1BA2701-54E9-436A-AB49-A9D376A1D3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2938" y="2226396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BB420B2-6C2F-4642-B7BC-090941A1A8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2224" y="3186832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9956B64-AD82-451A-935C-5C066A30F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93928" y="2226396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0EA696D-87DF-4621-895A-D84C9361F3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3214" y="3186832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AEE456-2BD9-4A29-BF2D-8361681964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84728" y="2226396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B9A4B640-A120-4129-9307-360D0D4029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24014" y="3186832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16B2A5-53C3-4BF9-B799-FAF92AD0FC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0596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4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14A347-3935-4328-90B5-68E3E09AAA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62138" y="2226396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4" y="3186832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1BA2701-54E9-436A-AB49-A9D376A1D3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2938" y="2226396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BB420B2-6C2F-4642-B7BC-090941A1A8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2224" y="3186832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9956B64-AD82-451A-935C-5C066A30F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93928" y="2226396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0EA696D-87DF-4621-895A-D84C9361F3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3214" y="3186832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AEE456-2BD9-4A29-BF2D-8361681964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84728" y="2226396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B9A4B640-A120-4129-9307-360D0D4029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24014" y="3186832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818C6A7B-1136-4C37-8B0F-A457343D1C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D1ED15C-CAB0-4FCA-BB2F-061782A71AAF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581421B-796A-4234-ABDC-772E3E83AD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081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8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enda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14A347-3935-4328-90B5-68E3E09AAA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62138" y="1690689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4" y="2651125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1BA2701-54E9-436A-AB49-A9D376A1D3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2938" y="1690689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BB420B2-6C2F-4642-B7BC-090941A1A8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2224" y="2651125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9956B64-AD82-451A-935C-5C066A30F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93928" y="1690689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0EA696D-87DF-4621-895A-D84C9361F3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3214" y="2651125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AEE456-2BD9-4A29-BF2D-8361681964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84728" y="1690689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B9A4B640-A120-4129-9307-360D0D4029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24014" y="2651125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CE1F085-DB84-4C29-AE74-5A337E67C57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62138" y="3810434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2EF028-965E-46ED-85F5-ED6517127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424" y="4770870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EBE54AF-C0A9-4BC4-AD74-FAF421C95A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2938" y="3810434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67BA099-9E65-4A0E-8F38-9F76425DBF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2224" y="4770870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8BD7007-D5DF-4317-8E3C-494EE934D4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93928" y="3810434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541ECC9-5DB5-48F3-B8F3-FA430C3AF5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33214" y="4770870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3E6BBDC-CFC0-4CAE-AA5C-004A9BBE53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84728" y="3810434"/>
            <a:ext cx="648000" cy="648000"/>
          </a:xfrm>
          <a:prstGeom prst="ellipse">
            <a:avLst/>
          </a:prstGeom>
          <a:solidFill>
            <a:schemeClr val="tx2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363A7AFB-DC94-466C-B279-3E88D594F6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24014" y="4770870"/>
            <a:ext cx="2376000" cy="1092173"/>
          </a:xfrm>
        </p:spPr>
        <p:txBody>
          <a:bodyPr/>
          <a:lstStyle>
            <a:lvl1pPr algn="ctr">
              <a:defRPr b="1"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1C9C7C17-F662-45FB-A067-D49A47713F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1224B7B-73C4-44DD-9F04-4A8D09F93CB2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tx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tx1"/>
              </a:solidFill>
              <a:latin typeface="HurmeGeometricSans1 Regular" panose="020B050002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3032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8 - Col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BB112-9FB1-44E5-9BFE-044CFDF08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14A347-3935-4328-90B5-68E3E09AAA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62138" y="1690689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415EA9-8BD7-4213-B203-42A2FB09A2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1424" y="2651125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1BA2701-54E9-436A-AB49-A9D376A1D3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2938" y="1690689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BB420B2-6C2F-4642-B7BC-090941A1A8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2224" y="2651125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9956B64-AD82-451A-935C-5C066A30F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93928" y="1690689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0EA696D-87DF-4621-895A-D84C9361F3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3214" y="2651125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AEE456-2BD9-4A29-BF2D-8361681964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84728" y="1690689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B9A4B640-A120-4129-9307-360D0D4029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24014" y="2651125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CE1F085-DB84-4C29-AE74-5A337E67C57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62138" y="3810434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482EF028-965E-46ED-85F5-ED6517127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424" y="4770870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EBE54AF-C0A9-4BC4-AD74-FAF421C95A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52938" y="3810434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67BA099-9E65-4A0E-8F38-9F76425DBF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2224" y="4770870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8BD7007-D5DF-4317-8E3C-494EE934D4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93928" y="3810434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541ECC9-5DB5-48F3-B8F3-FA430C3AF5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33214" y="4770870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3E6BBDC-CFC0-4CAE-AA5C-004A9BBE53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84728" y="3810434"/>
            <a:ext cx="648000" cy="648000"/>
          </a:xfrm>
          <a:prstGeom prst="ellipse">
            <a:avLst/>
          </a:prstGeom>
          <a:solidFill>
            <a:schemeClr val="tx1"/>
          </a:solidFill>
          <a:ln w="158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  <a:latin typeface="Hurme FIN Mono 1a Bold" panose="020B0609030202010107" pitchFamily="49" charset="0"/>
                <a:ea typeface="Hurme FIN Mono 1a Bold" panose="020B0609030202010107" pitchFamily="49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363A7AFB-DC94-466C-B279-3E88D594F6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24014" y="4770870"/>
            <a:ext cx="2376000" cy="1092173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Hurme Geometric Sans 4 Bold" panose="020B0A00020000000000" pitchFamily="34" charset="0"/>
              </a:defRPr>
            </a:lvl1pPr>
            <a:lvl2pPr algn="ctr">
              <a:defRPr b="1"/>
            </a:lvl2pPr>
            <a:lvl3pPr algn="ctr">
              <a:defRPr b="1"/>
            </a:lvl3pPr>
            <a:lvl4pPr algn="ctr">
              <a:defRPr b="1"/>
            </a:lvl4pPr>
            <a:lvl5pPr algn="ctr">
              <a:defRPr b="1"/>
            </a:lvl5pPr>
          </a:lstStyle>
          <a:p>
            <a:pPr lvl="0"/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79188708-5989-4D36-B327-E38AC6E34C9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424" y="6223184"/>
            <a:ext cx="6988464" cy="28080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000">
                <a:solidFill>
                  <a:schemeClr val="tx2">
                    <a:lumMod val="40000"/>
                    <a:lumOff val="60000"/>
                  </a:schemeClr>
                </a:solidFill>
                <a:latin typeface="HurmeGeometricSans1 Regular" panose="020B0500020000000000" pitchFamily="34" charset="0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1D01AC2-8F15-4E85-BC7C-A564F37E4AEA}"/>
              </a:ext>
            </a:extLst>
          </p:cNvPr>
          <p:cNvSpPr txBox="1"/>
          <p:nvPr userDrawn="1"/>
        </p:nvSpPr>
        <p:spPr>
          <a:xfrm>
            <a:off x="358435" y="6223184"/>
            <a:ext cx="280800" cy="2808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fld id="{2F5644DD-CFAB-4DCD-B113-6C55581FAE3E}" type="slidenum">
              <a:rPr lang="en-GB" sz="1000" b="1" smtClean="0">
                <a:solidFill>
                  <a:schemeClr val="bg1"/>
                </a:solidFill>
                <a:latin typeface="HurmeGeometricSans1 Regular" panose="020B0500020000000000" pitchFamily="34" charset="0"/>
              </a:rPr>
              <a:pPr algn="ctr"/>
              <a:t>‹N°›</a:t>
            </a:fld>
            <a:endParaRPr lang="en-GB" sz="1000" b="1" dirty="0">
              <a:solidFill>
                <a:schemeClr val="bg1"/>
              </a:solidFill>
              <a:latin typeface="HurmeGeometricSans1 Regular" panose="020B0500020000000000" pitchFamily="34" charset="0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08147EDA-C9B4-46F5-8E1D-3C6857D4E5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7533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aphic 26">
            <a:extLst>
              <a:ext uri="{FF2B5EF4-FFF2-40B4-BE49-F238E27FC236}">
                <a16:creationId xmlns:a16="http://schemas.microsoft.com/office/drawing/2014/main" id="{194F408F-C0E8-4DD5-AE6B-2110D73B1379}"/>
              </a:ext>
            </a:extLst>
          </p:cNvPr>
          <p:cNvGrpSpPr/>
          <p:nvPr/>
        </p:nvGrpSpPr>
        <p:grpSpPr>
          <a:xfrm>
            <a:off x="-362752" y="-3026588"/>
            <a:ext cx="12914710" cy="12914078"/>
            <a:chOff x="-362752" y="-3026588"/>
            <a:chExt cx="12914710" cy="12914078"/>
          </a:xfrm>
        </p:grpSpPr>
        <p:sp>
          <p:nvSpPr>
            <p:cNvPr id="31" name="Graphic 26">
              <a:extLst>
                <a:ext uri="{FF2B5EF4-FFF2-40B4-BE49-F238E27FC236}">
                  <a16:creationId xmlns:a16="http://schemas.microsoft.com/office/drawing/2014/main" id="{C7392C0A-E67E-437F-8935-CDB7758B0170}"/>
                </a:ext>
              </a:extLst>
            </p:cNvPr>
            <p:cNvSpPr/>
            <p:nvPr/>
          </p:nvSpPr>
          <p:spPr>
            <a:xfrm>
              <a:off x="3371348" y="6019516"/>
              <a:ext cx="5020687" cy="1481312"/>
            </a:xfrm>
            <a:custGeom>
              <a:avLst/>
              <a:gdLst>
                <a:gd name="connsiteX0" fmla="*/ 3707560 w 5020687"/>
                <a:gd name="connsiteY0" fmla="*/ 1359467 h 1481312"/>
                <a:gd name="connsiteX1" fmla="*/ 2439210 w 5020687"/>
                <a:gd name="connsiteY1" fmla="*/ 1471493 h 1481312"/>
                <a:gd name="connsiteX2" fmla="*/ 1198076 w 5020687"/>
                <a:gd name="connsiteY2" fmla="*/ 1184152 h 1481312"/>
                <a:gd name="connsiteX3" fmla="*/ 106941 w 5020687"/>
                <a:gd name="connsiteY3" fmla="*/ 528459 h 1481312"/>
                <a:gd name="connsiteX4" fmla="*/ 69599 w 5020687"/>
                <a:gd name="connsiteY4" fmla="*/ 106941 h 1481312"/>
                <a:gd name="connsiteX5" fmla="*/ 491116 w 5020687"/>
                <a:gd name="connsiteY5" fmla="*/ 69600 h 1481312"/>
                <a:gd name="connsiteX6" fmla="*/ 1422758 w 5020687"/>
                <a:gd name="connsiteY6" fmla="*/ 629090 h 1481312"/>
                <a:gd name="connsiteX7" fmla="*/ 2480982 w 5020687"/>
                <a:gd name="connsiteY7" fmla="*/ 874027 h 1481312"/>
                <a:gd name="connsiteX8" fmla="*/ 3563256 w 5020687"/>
                <a:gd name="connsiteY8" fmla="*/ 778458 h 1481312"/>
                <a:gd name="connsiteX9" fmla="*/ 4563252 w 5020687"/>
                <a:gd name="connsiteY9" fmla="*/ 355041 h 1481312"/>
                <a:gd name="connsiteX10" fmla="*/ 4975276 w 5020687"/>
                <a:gd name="connsiteY10" fmla="*/ 449978 h 1481312"/>
                <a:gd name="connsiteX11" fmla="*/ 4880339 w 5020687"/>
                <a:gd name="connsiteY11" fmla="*/ 862001 h 1481312"/>
                <a:gd name="connsiteX12" fmla="*/ 3707560 w 5020687"/>
                <a:gd name="connsiteY12" fmla="*/ 1359467 h 1481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20687" h="1481312">
                  <a:moveTo>
                    <a:pt x="3707560" y="1359467"/>
                  </a:moveTo>
                  <a:cubicBezTo>
                    <a:pt x="3290472" y="1463265"/>
                    <a:pt x="2863892" y="1501239"/>
                    <a:pt x="2439210" y="1471493"/>
                  </a:cubicBezTo>
                  <a:cubicBezTo>
                    <a:pt x="2013262" y="1441746"/>
                    <a:pt x="1595542" y="1344911"/>
                    <a:pt x="1198076" y="1184152"/>
                  </a:cubicBezTo>
                  <a:cubicBezTo>
                    <a:pt x="801875" y="1023393"/>
                    <a:pt x="434788" y="803140"/>
                    <a:pt x="106941" y="528459"/>
                  </a:cubicBezTo>
                  <a:cubicBezTo>
                    <a:pt x="-19641" y="422129"/>
                    <a:pt x="-36097" y="233522"/>
                    <a:pt x="69599" y="106941"/>
                  </a:cubicBezTo>
                  <a:cubicBezTo>
                    <a:pt x="175928" y="-19641"/>
                    <a:pt x="364534" y="-36097"/>
                    <a:pt x="491116" y="69600"/>
                  </a:cubicBezTo>
                  <a:cubicBezTo>
                    <a:pt x="770862" y="303776"/>
                    <a:pt x="1084152" y="492382"/>
                    <a:pt x="1422758" y="629090"/>
                  </a:cubicBezTo>
                  <a:cubicBezTo>
                    <a:pt x="1761364" y="766432"/>
                    <a:pt x="2117692" y="848710"/>
                    <a:pt x="2480982" y="874027"/>
                  </a:cubicBezTo>
                  <a:cubicBezTo>
                    <a:pt x="2843005" y="899343"/>
                    <a:pt x="3206928" y="867065"/>
                    <a:pt x="3563256" y="778458"/>
                  </a:cubicBezTo>
                  <a:cubicBezTo>
                    <a:pt x="3918951" y="689850"/>
                    <a:pt x="4255659" y="547446"/>
                    <a:pt x="4563252" y="355041"/>
                  </a:cubicBezTo>
                  <a:cubicBezTo>
                    <a:pt x="4703125" y="267700"/>
                    <a:pt x="4887935" y="310105"/>
                    <a:pt x="4975276" y="449978"/>
                  </a:cubicBezTo>
                  <a:cubicBezTo>
                    <a:pt x="5062617" y="589850"/>
                    <a:pt x="5020212" y="774659"/>
                    <a:pt x="4880339" y="862001"/>
                  </a:cubicBezTo>
                  <a:cubicBezTo>
                    <a:pt x="4518949" y="1088583"/>
                    <a:pt x="4124013" y="1255670"/>
                    <a:pt x="3707560" y="1359467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Graphic 26">
              <a:extLst>
                <a:ext uri="{FF2B5EF4-FFF2-40B4-BE49-F238E27FC236}">
                  <a16:creationId xmlns:a16="http://schemas.microsoft.com/office/drawing/2014/main" id="{4A9F640C-7021-44B7-9793-0316137488CC}"/>
                </a:ext>
              </a:extLst>
            </p:cNvPr>
            <p:cNvSpPr/>
            <p:nvPr/>
          </p:nvSpPr>
          <p:spPr>
            <a:xfrm>
              <a:off x="2906793" y="-640297"/>
              <a:ext cx="4899739" cy="1945900"/>
            </a:xfrm>
            <a:custGeom>
              <a:avLst/>
              <a:gdLst>
                <a:gd name="connsiteX0" fmla="*/ 371497 w 4899739"/>
                <a:gd name="connsiteY0" fmla="*/ 1937027 h 1945900"/>
                <a:gd name="connsiteX1" fmla="*/ 106941 w 4899739"/>
                <a:gd name="connsiteY1" fmla="*/ 1876268 h 1945900"/>
                <a:gd name="connsiteX2" fmla="*/ 69599 w 4899739"/>
                <a:gd name="connsiteY2" fmla="*/ 1454751 h 1945900"/>
                <a:gd name="connsiteX3" fmla="*/ 1030355 w 4899739"/>
                <a:gd name="connsiteY3" fmla="*/ 618678 h 1945900"/>
                <a:gd name="connsiteX4" fmla="*/ 2203135 w 4899739"/>
                <a:gd name="connsiteY4" fmla="*/ 121845 h 1945900"/>
                <a:gd name="connsiteX5" fmla="*/ 3471484 w 4899739"/>
                <a:gd name="connsiteY5" fmla="*/ 9820 h 1945900"/>
                <a:gd name="connsiteX6" fmla="*/ 4712618 w 4899739"/>
                <a:gd name="connsiteY6" fmla="*/ 297161 h 1945900"/>
                <a:gd name="connsiteX7" fmla="*/ 4877808 w 4899739"/>
                <a:gd name="connsiteY7" fmla="*/ 686400 h 1945900"/>
                <a:gd name="connsiteX8" fmla="*/ 4488569 w 4899739"/>
                <a:gd name="connsiteY8" fmla="*/ 851589 h 1945900"/>
                <a:gd name="connsiteX9" fmla="*/ 3430345 w 4899739"/>
                <a:gd name="connsiteY9" fmla="*/ 606653 h 1945900"/>
                <a:gd name="connsiteX10" fmla="*/ 2348071 w 4899739"/>
                <a:gd name="connsiteY10" fmla="*/ 702222 h 1945900"/>
                <a:gd name="connsiteX11" fmla="*/ 1347442 w 4899739"/>
                <a:gd name="connsiteY11" fmla="*/ 1125639 h 1945900"/>
                <a:gd name="connsiteX12" fmla="*/ 528458 w 4899739"/>
                <a:gd name="connsiteY12" fmla="*/ 1838927 h 1945900"/>
                <a:gd name="connsiteX13" fmla="*/ 371497 w 4899739"/>
                <a:gd name="connsiteY13" fmla="*/ 1937027 h 194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99739" h="1945900">
                  <a:moveTo>
                    <a:pt x="371497" y="1937027"/>
                  </a:moveTo>
                  <a:cubicBezTo>
                    <a:pt x="281623" y="1959179"/>
                    <a:pt x="182890" y="1940192"/>
                    <a:pt x="106941" y="1876268"/>
                  </a:cubicBezTo>
                  <a:cubicBezTo>
                    <a:pt x="-19641" y="1769940"/>
                    <a:pt x="-36097" y="1581333"/>
                    <a:pt x="69599" y="1454751"/>
                  </a:cubicBezTo>
                  <a:cubicBezTo>
                    <a:pt x="344914" y="1126271"/>
                    <a:pt x="668331" y="844627"/>
                    <a:pt x="1030355" y="618678"/>
                  </a:cubicBezTo>
                  <a:cubicBezTo>
                    <a:pt x="1391746" y="393363"/>
                    <a:pt x="1786048" y="226275"/>
                    <a:pt x="2203135" y="121845"/>
                  </a:cubicBezTo>
                  <a:cubicBezTo>
                    <a:pt x="2620222" y="18048"/>
                    <a:pt x="3046803" y="-19927"/>
                    <a:pt x="3471484" y="9820"/>
                  </a:cubicBezTo>
                  <a:cubicBezTo>
                    <a:pt x="3897432" y="39567"/>
                    <a:pt x="4315152" y="136402"/>
                    <a:pt x="4712618" y="297161"/>
                  </a:cubicBezTo>
                  <a:cubicBezTo>
                    <a:pt x="4865783" y="359186"/>
                    <a:pt x="4939833" y="533869"/>
                    <a:pt x="4877808" y="686400"/>
                  </a:cubicBezTo>
                  <a:cubicBezTo>
                    <a:pt x="4815783" y="839564"/>
                    <a:pt x="4641100" y="913614"/>
                    <a:pt x="4488569" y="851589"/>
                  </a:cubicBezTo>
                  <a:cubicBezTo>
                    <a:pt x="4149963" y="714248"/>
                    <a:pt x="3793635" y="631969"/>
                    <a:pt x="3430345" y="606653"/>
                  </a:cubicBezTo>
                  <a:cubicBezTo>
                    <a:pt x="3068322" y="581337"/>
                    <a:pt x="2704399" y="613615"/>
                    <a:pt x="2348071" y="702222"/>
                  </a:cubicBezTo>
                  <a:cubicBezTo>
                    <a:pt x="1992376" y="790830"/>
                    <a:pt x="1655669" y="933234"/>
                    <a:pt x="1347442" y="1125639"/>
                  </a:cubicBezTo>
                  <a:cubicBezTo>
                    <a:pt x="1038583" y="1318676"/>
                    <a:pt x="763267" y="1558548"/>
                    <a:pt x="528458" y="1838927"/>
                  </a:cubicBezTo>
                  <a:cubicBezTo>
                    <a:pt x="486053" y="1889559"/>
                    <a:pt x="430990" y="1922471"/>
                    <a:pt x="371497" y="1937027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Graphic 26">
              <a:extLst>
                <a:ext uri="{FF2B5EF4-FFF2-40B4-BE49-F238E27FC236}">
                  <a16:creationId xmlns:a16="http://schemas.microsoft.com/office/drawing/2014/main" id="{EC7F8BFD-33E8-43B4-9226-7F56986BA662}"/>
                </a:ext>
              </a:extLst>
            </p:cNvPr>
            <p:cNvSpPr/>
            <p:nvPr/>
          </p:nvSpPr>
          <p:spPr>
            <a:xfrm>
              <a:off x="3935469" y="4990606"/>
              <a:ext cx="7059658" cy="3703391"/>
            </a:xfrm>
            <a:custGeom>
              <a:avLst/>
              <a:gdLst>
                <a:gd name="connsiteX0" fmla="*/ 3432045 w 7059658"/>
                <a:gd name="connsiteY0" fmla="*/ 3545969 h 3703391"/>
                <a:gd name="connsiteX1" fmla="*/ 1791545 w 7059658"/>
                <a:gd name="connsiteY1" fmla="*/ 3690905 h 3703391"/>
                <a:gd name="connsiteX2" fmla="*/ 187121 w 7059658"/>
                <a:gd name="connsiteY2" fmla="*/ 3319387 h 3703391"/>
                <a:gd name="connsiteX3" fmla="*/ 21932 w 7059658"/>
                <a:gd name="connsiteY3" fmla="*/ 2930148 h 3703391"/>
                <a:gd name="connsiteX4" fmla="*/ 411171 w 7059658"/>
                <a:gd name="connsiteY4" fmla="*/ 2764959 h 3703391"/>
                <a:gd name="connsiteX5" fmla="*/ 1832684 w 7059658"/>
                <a:gd name="connsiteY5" fmla="*/ 3094072 h 3703391"/>
                <a:gd name="connsiteX6" fmla="*/ 3286476 w 7059658"/>
                <a:gd name="connsiteY6" fmla="*/ 2965592 h 3703391"/>
                <a:gd name="connsiteX7" fmla="*/ 4630775 w 7059658"/>
                <a:gd name="connsiteY7" fmla="*/ 2396606 h 3703391"/>
                <a:gd name="connsiteX8" fmla="*/ 5731403 w 7059658"/>
                <a:gd name="connsiteY8" fmla="*/ 1438382 h 3703391"/>
                <a:gd name="connsiteX9" fmla="*/ 6483299 w 7059658"/>
                <a:gd name="connsiteY9" fmla="*/ 187121 h 3703391"/>
                <a:gd name="connsiteX10" fmla="*/ 6872538 w 7059658"/>
                <a:gd name="connsiteY10" fmla="*/ 21931 h 3703391"/>
                <a:gd name="connsiteX11" fmla="*/ 7037727 w 7059658"/>
                <a:gd name="connsiteY11" fmla="*/ 411170 h 3703391"/>
                <a:gd name="connsiteX12" fmla="*/ 6189629 w 7059658"/>
                <a:gd name="connsiteY12" fmla="*/ 1821925 h 3703391"/>
                <a:gd name="connsiteX13" fmla="*/ 4947229 w 7059658"/>
                <a:gd name="connsiteY13" fmla="*/ 2903566 h 3703391"/>
                <a:gd name="connsiteX14" fmla="*/ 3432045 w 7059658"/>
                <a:gd name="connsiteY14" fmla="*/ 3545969 h 370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059658" h="3703391">
                  <a:moveTo>
                    <a:pt x="3432045" y="3545969"/>
                  </a:moveTo>
                  <a:cubicBezTo>
                    <a:pt x="2892806" y="3680145"/>
                    <a:pt x="2340910" y="3728880"/>
                    <a:pt x="1791545" y="3690905"/>
                  </a:cubicBezTo>
                  <a:cubicBezTo>
                    <a:pt x="1240914" y="3652298"/>
                    <a:pt x="701043" y="3527614"/>
                    <a:pt x="187121" y="3319387"/>
                  </a:cubicBezTo>
                  <a:cubicBezTo>
                    <a:pt x="33957" y="3257362"/>
                    <a:pt x="-40093" y="3082680"/>
                    <a:pt x="21932" y="2930148"/>
                  </a:cubicBezTo>
                  <a:cubicBezTo>
                    <a:pt x="83957" y="2776984"/>
                    <a:pt x="258640" y="2702934"/>
                    <a:pt x="411171" y="2764959"/>
                  </a:cubicBezTo>
                  <a:cubicBezTo>
                    <a:pt x="866232" y="2949135"/>
                    <a:pt x="1344711" y="3059894"/>
                    <a:pt x="1832684" y="3094072"/>
                  </a:cubicBezTo>
                  <a:cubicBezTo>
                    <a:pt x="2319391" y="3128249"/>
                    <a:pt x="2808630" y="3084578"/>
                    <a:pt x="3286476" y="2965592"/>
                  </a:cubicBezTo>
                  <a:cubicBezTo>
                    <a:pt x="3764322" y="2846604"/>
                    <a:pt x="4216852" y="2654833"/>
                    <a:pt x="4630775" y="2396606"/>
                  </a:cubicBezTo>
                  <a:cubicBezTo>
                    <a:pt x="5045963" y="2137746"/>
                    <a:pt x="5416214" y="1814963"/>
                    <a:pt x="5731403" y="1438382"/>
                  </a:cubicBezTo>
                  <a:cubicBezTo>
                    <a:pt x="6046591" y="1062434"/>
                    <a:pt x="6299122" y="641549"/>
                    <a:pt x="6483299" y="187121"/>
                  </a:cubicBezTo>
                  <a:cubicBezTo>
                    <a:pt x="6545324" y="33957"/>
                    <a:pt x="6720007" y="-40093"/>
                    <a:pt x="6872538" y="21931"/>
                  </a:cubicBezTo>
                  <a:cubicBezTo>
                    <a:pt x="7025701" y="83957"/>
                    <a:pt x="7099752" y="258640"/>
                    <a:pt x="7037727" y="411170"/>
                  </a:cubicBezTo>
                  <a:cubicBezTo>
                    <a:pt x="6830133" y="923827"/>
                    <a:pt x="6544690" y="1398508"/>
                    <a:pt x="6189629" y="1821925"/>
                  </a:cubicBezTo>
                  <a:cubicBezTo>
                    <a:pt x="5833934" y="2246606"/>
                    <a:pt x="5415582" y="2610529"/>
                    <a:pt x="4947229" y="2903566"/>
                  </a:cubicBezTo>
                  <a:cubicBezTo>
                    <a:pt x="4481408" y="3195970"/>
                    <a:pt x="3971283" y="3411792"/>
                    <a:pt x="3432045" y="3545969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Graphic 26">
              <a:extLst>
                <a:ext uri="{FF2B5EF4-FFF2-40B4-BE49-F238E27FC236}">
                  <a16:creationId xmlns:a16="http://schemas.microsoft.com/office/drawing/2014/main" id="{E15AE27A-013C-4EDE-92AB-AD3781384681}"/>
                </a:ext>
              </a:extLst>
            </p:cNvPr>
            <p:cNvSpPr/>
            <p:nvPr/>
          </p:nvSpPr>
          <p:spPr>
            <a:xfrm>
              <a:off x="842133" y="1272266"/>
              <a:ext cx="948599" cy="2111135"/>
            </a:xfrm>
            <a:custGeom>
              <a:avLst/>
              <a:gdLst>
                <a:gd name="connsiteX0" fmla="*/ 371607 w 948599"/>
                <a:gd name="connsiteY0" fmla="*/ 2102303 h 2111135"/>
                <a:gd name="connsiteX1" fmla="*/ 278570 w 948599"/>
                <a:gd name="connsiteY1" fmla="*/ 2110531 h 2111135"/>
                <a:gd name="connsiteX2" fmla="*/ 723 w 948599"/>
                <a:gd name="connsiteY2" fmla="*/ 1791545 h 2111135"/>
                <a:gd name="connsiteX3" fmla="*/ 372240 w 948599"/>
                <a:gd name="connsiteY3" fmla="*/ 187121 h 2111135"/>
                <a:gd name="connsiteX4" fmla="*/ 761479 w 948599"/>
                <a:gd name="connsiteY4" fmla="*/ 21932 h 2111135"/>
                <a:gd name="connsiteX5" fmla="*/ 926668 w 948599"/>
                <a:gd name="connsiteY5" fmla="*/ 411171 h 2111135"/>
                <a:gd name="connsiteX6" fmla="*/ 597556 w 948599"/>
                <a:gd name="connsiteY6" fmla="*/ 1832684 h 2111135"/>
                <a:gd name="connsiteX7" fmla="*/ 371607 w 948599"/>
                <a:gd name="connsiteY7" fmla="*/ 2102303 h 211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8599" h="2111135">
                  <a:moveTo>
                    <a:pt x="371607" y="2102303"/>
                  </a:moveTo>
                  <a:cubicBezTo>
                    <a:pt x="341860" y="2109898"/>
                    <a:pt x="310848" y="2112430"/>
                    <a:pt x="278570" y="2110531"/>
                  </a:cubicBezTo>
                  <a:cubicBezTo>
                    <a:pt x="114013" y="2099139"/>
                    <a:pt x="-10670" y="1956101"/>
                    <a:pt x="723" y="1791545"/>
                  </a:cubicBezTo>
                  <a:cubicBezTo>
                    <a:pt x="39330" y="1240914"/>
                    <a:pt x="164013" y="701043"/>
                    <a:pt x="372240" y="187121"/>
                  </a:cubicBezTo>
                  <a:cubicBezTo>
                    <a:pt x="434265" y="33957"/>
                    <a:pt x="608948" y="-40093"/>
                    <a:pt x="761479" y="21932"/>
                  </a:cubicBezTo>
                  <a:cubicBezTo>
                    <a:pt x="914643" y="83957"/>
                    <a:pt x="988693" y="258639"/>
                    <a:pt x="926668" y="411171"/>
                  </a:cubicBezTo>
                  <a:cubicBezTo>
                    <a:pt x="742492" y="866232"/>
                    <a:pt x="631733" y="1344711"/>
                    <a:pt x="597556" y="1832684"/>
                  </a:cubicBezTo>
                  <a:cubicBezTo>
                    <a:pt x="588695" y="1964962"/>
                    <a:pt x="494391" y="2071923"/>
                    <a:pt x="371607" y="2102303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Graphic 26">
              <a:extLst>
                <a:ext uri="{FF2B5EF4-FFF2-40B4-BE49-F238E27FC236}">
                  <a16:creationId xmlns:a16="http://schemas.microsoft.com/office/drawing/2014/main" id="{EACC5525-C551-4A7E-9CFC-F652E97494D0}"/>
                </a:ext>
              </a:extLst>
            </p:cNvPr>
            <p:cNvSpPr/>
            <p:nvPr/>
          </p:nvSpPr>
          <p:spPr>
            <a:xfrm>
              <a:off x="86117" y="-3026588"/>
              <a:ext cx="12465841" cy="7185936"/>
            </a:xfrm>
            <a:custGeom>
              <a:avLst/>
              <a:gdLst>
                <a:gd name="connsiteX0" fmla="*/ 12223782 w 12465841"/>
                <a:gd name="connsiteY0" fmla="*/ 7177105 h 7185936"/>
                <a:gd name="connsiteX1" fmla="*/ 12130744 w 12465841"/>
                <a:gd name="connsiteY1" fmla="*/ 7185333 h 7185936"/>
                <a:gd name="connsiteX2" fmla="*/ 11852897 w 12465841"/>
                <a:gd name="connsiteY2" fmla="*/ 6866347 h 7185936"/>
                <a:gd name="connsiteX3" fmla="*/ 11691505 w 12465841"/>
                <a:gd name="connsiteY3" fmla="*/ 5040405 h 7185936"/>
                <a:gd name="connsiteX4" fmla="*/ 10976951 w 12465841"/>
                <a:gd name="connsiteY4" fmla="*/ 3352437 h 7185936"/>
                <a:gd name="connsiteX5" fmla="*/ 9773791 w 12465841"/>
                <a:gd name="connsiteY5" fmla="*/ 1970163 h 7185936"/>
                <a:gd name="connsiteX6" fmla="*/ 8202279 w 12465841"/>
                <a:gd name="connsiteY6" fmla="*/ 1025863 h 7185936"/>
                <a:gd name="connsiteX7" fmla="*/ 6416843 w 12465841"/>
                <a:gd name="connsiteY7" fmla="*/ 612574 h 7185936"/>
                <a:gd name="connsiteX8" fmla="*/ 4590901 w 12465841"/>
                <a:gd name="connsiteY8" fmla="*/ 773965 h 7185936"/>
                <a:gd name="connsiteX9" fmla="*/ 2902933 w 12465841"/>
                <a:gd name="connsiteY9" fmla="*/ 1488520 h 7185936"/>
                <a:gd name="connsiteX10" fmla="*/ 1520660 w 12465841"/>
                <a:gd name="connsiteY10" fmla="*/ 2691679 h 7185936"/>
                <a:gd name="connsiteX11" fmla="*/ 576360 w 12465841"/>
                <a:gd name="connsiteY11" fmla="*/ 4263192 h 7185936"/>
                <a:gd name="connsiteX12" fmla="*/ 187121 w 12465841"/>
                <a:gd name="connsiteY12" fmla="*/ 4428382 h 7185936"/>
                <a:gd name="connsiteX13" fmla="*/ 21932 w 12465841"/>
                <a:gd name="connsiteY13" fmla="*/ 4039143 h 7185936"/>
                <a:gd name="connsiteX14" fmla="*/ 1061801 w 12465841"/>
                <a:gd name="connsiteY14" fmla="*/ 2308137 h 7185936"/>
                <a:gd name="connsiteX15" fmla="*/ 2585846 w 12465841"/>
                <a:gd name="connsiteY15" fmla="*/ 981560 h 7185936"/>
                <a:gd name="connsiteX16" fmla="*/ 4446598 w 12465841"/>
                <a:gd name="connsiteY16" fmla="*/ 192955 h 7185936"/>
                <a:gd name="connsiteX17" fmla="*/ 4446598 w 12465841"/>
                <a:gd name="connsiteY17" fmla="*/ 192955 h 7185936"/>
                <a:gd name="connsiteX18" fmla="*/ 6458615 w 12465841"/>
                <a:gd name="connsiteY18" fmla="*/ 15741 h 7185936"/>
                <a:gd name="connsiteX19" fmla="*/ 8426961 w 12465841"/>
                <a:gd name="connsiteY19" fmla="*/ 471435 h 7185936"/>
                <a:gd name="connsiteX20" fmla="*/ 10157967 w 12465841"/>
                <a:gd name="connsiteY20" fmla="*/ 1511304 h 7185936"/>
                <a:gd name="connsiteX21" fmla="*/ 11484544 w 12465841"/>
                <a:gd name="connsiteY21" fmla="*/ 3035349 h 7185936"/>
                <a:gd name="connsiteX22" fmla="*/ 12272516 w 12465841"/>
                <a:gd name="connsiteY22" fmla="*/ 4895468 h 7185936"/>
                <a:gd name="connsiteX23" fmla="*/ 12450363 w 12465841"/>
                <a:gd name="connsiteY23" fmla="*/ 6907486 h 7185936"/>
                <a:gd name="connsiteX24" fmla="*/ 12223782 w 12465841"/>
                <a:gd name="connsiteY24" fmla="*/ 7177105 h 718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465841" h="7185936">
                  <a:moveTo>
                    <a:pt x="12223782" y="7177105"/>
                  </a:moveTo>
                  <a:cubicBezTo>
                    <a:pt x="12194035" y="7184700"/>
                    <a:pt x="12163022" y="7187231"/>
                    <a:pt x="12130744" y="7185333"/>
                  </a:cubicBezTo>
                  <a:cubicBezTo>
                    <a:pt x="11966187" y="7173941"/>
                    <a:pt x="11841505" y="7030903"/>
                    <a:pt x="11852897" y="6866347"/>
                  </a:cubicBezTo>
                  <a:cubicBezTo>
                    <a:pt x="11895302" y="6254957"/>
                    <a:pt x="11841505" y="5641035"/>
                    <a:pt x="11691505" y="5040405"/>
                  </a:cubicBezTo>
                  <a:cubicBezTo>
                    <a:pt x="11541506" y="4439774"/>
                    <a:pt x="11301633" y="3872055"/>
                    <a:pt x="10976951" y="3352437"/>
                  </a:cubicBezTo>
                  <a:cubicBezTo>
                    <a:pt x="10651636" y="2831552"/>
                    <a:pt x="10246574" y="2366364"/>
                    <a:pt x="9773791" y="1970163"/>
                  </a:cubicBezTo>
                  <a:cubicBezTo>
                    <a:pt x="9301641" y="1574595"/>
                    <a:pt x="8773162" y="1256875"/>
                    <a:pt x="8202279" y="1025863"/>
                  </a:cubicBezTo>
                  <a:cubicBezTo>
                    <a:pt x="7630129" y="794219"/>
                    <a:pt x="7029499" y="654979"/>
                    <a:pt x="6416843" y="612574"/>
                  </a:cubicBezTo>
                  <a:cubicBezTo>
                    <a:pt x="5805453" y="570169"/>
                    <a:pt x="5191532" y="623966"/>
                    <a:pt x="4590901" y="773965"/>
                  </a:cubicBezTo>
                  <a:cubicBezTo>
                    <a:pt x="3990270" y="923965"/>
                    <a:pt x="3422551" y="1163837"/>
                    <a:pt x="2902933" y="1488520"/>
                  </a:cubicBezTo>
                  <a:cubicBezTo>
                    <a:pt x="2382049" y="1813835"/>
                    <a:pt x="1916861" y="2218897"/>
                    <a:pt x="1520660" y="2691679"/>
                  </a:cubicBezTo>
                  <a:cubicBezTo>
                    <a:pt x="1125092" y="3163830"/>
                    <a:pt x="807372" y="3692309"/>
                    <a:pt x="576360" y="4263192"/>
                  </a:cubicBezTo>
                  <a:cubicBezTo>
                    <a:pt x="514335" y="4416356"/>
                    <a:pt x="339652" y="4490407"/>
                    <a:pt x="187121" y="4428382"/>
                  </a:cubicBezTo>
                  <a:cubicBezTo>
                    <a:pt x="33957" y="4366357"/>
                    <a:pt x="-40093" y="4191674"/>
                    <a:pt x="21932" y="4039143"/>
                  </a:cubicBezTo>
                  <a:cubicBezTo>
                    <a:pt x="276361" y="3410664"/>
                    <a:pt x="626360" y="2828388"/>
                    <a:pt x="1061801" y="2308137"/>
                  </a:cubicBezTo>
                  <a:cubicBezTo>
                    <a:pt x="1498508" y="1786620"/>
                    <a:pt x="2011164" y="1340419"/>
                    <a:pt x="2585846" y="981560"/>
                  </a:cubicBezTo>
                  <a:cubicBezTo>
                    <a:pt x="3159261" y="623333"/>
                    <a:pt x="3785208" y="358144"/>
                    <a:pt x="4446598" y="192955"/>
                  </a:cubicBezTo>
                  <a:cubicBezTo>
                    <a:pt x="4446598" y="192955"/>
                    <a:pt x="4446598" y="192955"/>
                    <a:pt x="4446598" y="192955"/>
                  </a:cubicBezTo>
                  <a:cubicBezTo>
                    <a:pt x="5107988" y="28399"/>
                    <a:pt x="5784567" y="-31728"/>
                    <a:pt x="6458615" y="15741"/>
                  </a:cubicBezTo>
                  <a:cubicBezTo>
                    <a:pt x="7134561" y="62576"/>
                    <a:pt x="7796585" y="216373"/>
                    <a:pt x="8426961" y="471435"/>
                  </a:cubicBezTo>
                  <a:cubicBezTo>
                    <a:pt x="9055439" y="725864"/>
                    <a:pt x="9637716" y="1075863"/>
                    <a:pt x="10157967" y="1511304"/>
                  </a:cubicBezTo>
                  <a:cubicBezTo>
                    <a:pt x="10679484" y="1948011"/>
                    <a:pt x="11125685" y="2460668"/>
                    <a:pt x="11484544" y="3035349"/>
                  </a:cubicBezTo>
                  <a:cubicBezTo>
                    <a:pt x="11842138" y="3608131"/>
                    <a:pt x="12107326" y="4234079"/>
                    <a:pt x="12272516" y="4895468"/>
                  </a:cubicBezTo>
                  <a:cubicBezTo>
                    <a:pt x="12437705" y="5556858"/>
                    <a:pt x="12497198" y="6234071"/>
                    <a:pt x="12450363" y="6907486"/>
                  </a:cubicBezTo>
                  <a:cubicBezTo>
                    <a:pt x="12440236" y="7039764"/>
                    <a:pt x="12345933" y="7146725"/>
                    <a:pt x="12223782" y="7177105"/>
                  </a:cubicBezTo>
                  <a:close/>
                </a:path>
              </a:pathLst>
            </a:custGeom>
            <a:noFill/>
            <a:ln w="158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Graphic 26">
              <a:extLst>
                <a:ext uri="{FF2B5EF4-FFF2-40B4-BE49-F238E27FC236}">
                  <a16:creationId xmlns:a16="http://schemas.microsoft.com/office/drawing/2014/main" id="{B3DA75DD-0744-4317-97CE-196031F34F9C}"/>
                </a:ext>
              </a:extLst>
            </p:cNvPr>
            <p:cNvSpPr/>
            <p:nvPr/>
          </p:nvSpPr>
          <p:spPr>
            <a:xfrm>
              <a:off x="-362752" y="2701698"/>
              <a:ext cx="782851" cy="2517232"/>
            </a:xfrm>
            <a:custGeom>
              <a:avLst/>
              <a:gdLst>
                <a:gd name="connsiteX0" fmla="*/ 555612 w 782851"/>
                <a:gd name="connsiteY0" fmla="*/ 2508308 h 2517232"/>
                <a:gd name="connsiteX1" fmla="*/ 192955 w 782851"/>
                <a:gd name="connsiteY1" fmla="*/ 2290587 h 2517232"/>
                <a:gd name="connsiteX2" fmla="*/ 15741 w 782851"/>
                <a:gd name="connsiteY2" fmla="*/ 278569 h 2517232"/>
                <a:gd name="connsiteX3" fmla="*/ 334727 w 782851"/>
                <a:gd name="connsiteY3" fmla="*/ 723 h 2517232"/>
                <a:gd name="connsiteX4" fmla="*/ 612574 w 782851"/>
                <a:gd name="connsiteY4" fmla="*/ 319708 h 2517232"/>
                <a:gd name="connsiteX5" fmla="*/ 773965 w 782851"/>
                <a:gd name="connsiteY5" fmla="*/ 2145651 h 2517232"/>
                <a:gd name="connsiteX6" fmla="*/ 555612 w 782851"/>
                <a:gd name="connsiteY6" fmla="*/ 2508308 h 2517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2851" h="2517232">
                  <a:moveTo>
                    <a:pt x="555612" y="2508308"/>
                  </a:moveTo>
                  <a:cubicBezTo>
                    <a:pt x="395486" y="2548181"/>
                    <a:pt x="232828" y="2450713"/>
                    <a:pt x="192955" y="2290587"/>
                  </a:cubicBezTo>
                  <a:cubicBezTo>
                    <a:pt x="28399" y="1629197"/>
                    <a:pt x="-31728" y="951985"/>
                    <a:pt x="15741" y="278569"/>
                  </a:cubicBezTo>
                  <a:cubicBezTo>
                    <a:pt x="27133" y="114013"/>
                    <a:pt x="170170" y="-10670"/>
                    <a:pt x="334727" y="723"/>
                  </a:cubicBezTo>
                  <a:cubicBezTo>
                    <a:pt x="499283" y="12115"/>
                    <a:pt x="623966" y="155152"/>
                    <a:pt x="612574" y="319708"/>
                  </a:cubicBezTo>
                  <a:cubicBezTo>
                    <a:pt x="570169" y="931098"/>
                    <a:pt x="623966" y="1545020"/>
                    <a:pt x="773965" y="2145651"/>
                  </a:cubicBezTo>
                  <a:cubicBezTo>
                    <a:pt x="813839" y="2305777"/>
                    <a:pt x="715738" y="2468434"/>
                    <a:pt x="555612" y="2508308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Graphic 26">
              <a:extLst>
                <a:ext uri="{FF2B5EF4-FFF2-40B4-BE49-F238E27FC236}">
                  <a16:creationId xmlns:a16="http://schemas.microsoft.com/office/drawing/2014/main" id="{96461F51-2246-4AF3-B1F0-3090C88C608E}"/>
                </a:ext>
              </a:extLst>
            </p:cNvPr>
            <p:cNvSpPr/>
            <p:nvPr/>
          </p:nvSpPr>
          <p:spPr>
            <a:xfrm>
              <a:off x="127669" y="5534687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Graphic 26">
              <a:extLst>
                <a:ext uri="{FF2B5EF4-FFF2-40B4-BE49-F238E27FC236}">
                  <a16:creationId xmlns:a16="http://schemas.microsoft.com/office/drawing/2014/main" id="{1B5E281B-ADE0-42F8-8EDE-91532054FC3E}"/>
                </a:ext>
              </a:extLst>
            </p:cNvPr>
            <p:cNvSpPr/>
            <p:nvPr/>
          </p:nvSpPr>
          <p:spPr>
            <a:xfrm>
              <a:off x="10626361" y="4245452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2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0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noFill/>
            <a:ln w="158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Graphic 26">
              <a:extLst>
                <a:ext uri="{FF2B5EF4-FFF2-40B4-BE49-F238E27FC236}">
                  <a16:creationId xmlns:a16="http://schemas.microsoft.com/office/drawing/2014/main" id="{22D4F78C-21C9-4513-B187-8A309B3057DA}"/>
                </a:ext>
              </a:extLst>
            </p:cNvPr>
            <p:cNvSpPr/>
            <p:nvPr/>
          </p:nvSpPr>
          <p:spPr>
            <a:xfrm>
              <a:off x="8993333" y="1132683"/>
              <a:ext cx="1171331" cy="4010094"/>
            </a:xfrm>
            <a:custGeom>
              <a:avLst/>
              <a:gdLst>
                <a:gd name="connsiteX0" fmla="*/ 874171 w 1171331"/>
                <a:gd name="connsiteY0" fmla="*/ 3822893 h 4010094"/>
                <a:gd name="connsiteX1" fmla="*/ 1161511 w 1171331"/>
                <a:gd name="connsiteY1" fmla="*/ 2581759 h 4010094"/>
                <a:gd name="connsiteX2" fmla="*/ 1049486 w 1171331"/>
                <a:gd name="connsiteY2" fmla="*/ 1313409 h 4010094"/>
                <a:gd name="connsiteX3" fmla="*/ 552653 w 1171331"/>
                <a:gd name="connsiteY3" fmla="*/ 140629 h 4010094"/>
                <a:gd name="connsiteX4" fmla="*/ 140629 w 1171331"/>
                <a:gd name="connsiteY4" fmla="*/ 45693 h 4010094"/>
                <a:gd name="connsiteX5" fmla="*/ 45693 w 1171331"/>
                <a:gd name="connsiteY5" fmla="*/ 457716 h 4010094"/>
                <a:gd name="connsiteX6" fmla="*/ 469109 w 1171331"/>
                <a:gd name="connsiteY6" fmla="*/ 1458345 h 4010094"/>
                <a:gd name="connsiteX7" fmla="*/ 564678 w 1171331"/>
                <a:gd name="connsiteY7" fmla="*/ 2540620 h 4010094"/>
                <a:gd name="connsiteX8" fmla="*/ 319743 w 1171331"/>
                <a:gd name="connsiteY8" fmla="*/ 3598844 h 4010094"/>
                <a:gd name="connsiteX9" fmla="*/ 484932 w 1171331"/>
                <a:gd name="connsiteY9" fmla="*/ 3988083 h 4010094"/>
                <a:gd name="connsiteX10" fmla="*/ 669108 w 1171331"/>
                <a:gd name="connsiteY10" fmla="*/ 4001374 h 4010094"/>
                <a:gd name="connsiteX11" fmla="*/ 874171 w 1171331"/>
                <a:gd name="connsiteY11" fmla="*/ 3822893 h 4010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1331" h="4010094">
                  <a:moveTo>
                    <a:pt x="874171" y="3822893"/>
                  </a:moveTo>
                  <a:cubicBezTo>
                    <a:pt x="1034930" y="3425427"/>
                    <a:pt x="1131764" y="3007707"/>
                    <a:pt x="1161511" y="2581759"/>
                  </a:cubicBezTo>
                  <a:cubicBezTo>
                    <a:pt x="1191258" y="2157077"/>
                    <a:pt x="1153283" y="1730496"/>
                    <a:pt x="1049486" y="1313409"/>
                  </a:cubicBezTo>
                  <a:cubicBezTo>
                    <a:pt x="945689" y="896322"/>
                    <a:pt x="778602" y="502020"/>
                    <a:pt x="552653" y="140629"/>
                  </a:cubicBezTo>
                  <a:cubicBezTo>
                    <a:pt x="465312" y="756"/>
                    <a:pt x="280502" y="-42282"/>
                    <a:pt x="140629" y="45693"/>
                  </a:cubicBezTo>
                  <a:cubicBezTo>
                    <a:pt x="756" y="133034"/>
                    <a:pt x="-42282" y="317844"/>
                    <a:pt x="45693" y="457716"/>
                  </a:cubicBezTo>
                  <a:cubicBezTo>
                    <a:pt x="238097" y="765310"/>
                    <a:pt x="380502" y="1102018"/>
                    <a:pt x="469109" y="1458345"/>
                  </a:cubicBezTo>
                  <a:cubicBezTo>
                    <a:pt x="557716" y="1814040"/>
                    <a:pt x="589994" y="2178596"/>
                    <a:pt x="564678" y="2540620"/>
                  </a:cubicBezTo>
                  <a:cubicBezTo>
                    <a:pt x="539362" y="2903909"/>
                    <a:pt x="457084" y="3259604"/>
                    <a:pt x="319743" y="3598844"/>
                  </a:cubicBezTo>
                  <a:cubicBezTo>
                    <a:pt x="257717" y="3752007"/>
                    <a:pt x="331767" y="3926057"/>
                    <a:pt x="484932" y="3988083"/>
                  </a:cubicBezTo>
                  <a:cubicBezTo>
                    <a:pt x="545691" y="4012766"/>
                    <a:pt x="610247" y="4015930"/>
                    <a:pt x="669108" y="4001374"/>
                  </a:cubicBezTo>
                  <a:cubicBezTo>
                    <a:pt x="758981" y="3978589"/>
                    <a:pt x="836829" y="3914665"/>
                    <a:pt x="874171" y="3822893"/>
                  </a:cubicBezTo>
                  <a:close/>
                </a:path>
              </a:pathLst>
            </a:custGeom>
            <a:solidFill>
              <a:schemeClr val="tx2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Graphic 26">
              <a:extLst>
                <a:ext uri="{FF2B5EF4-FFF2-40B4-BE49-F238E27FC236}">
                  <a16:creationId xmlns:a16="http://schemas.microsoft.com/office/drawing/2014/main" id="{A09AB5FB-595C-4E3D-B561-77800912A53A}"/>
                </a:ext>
              </a:extLst>
            </p:cNvPr>
            <p:cNvSpPr/>
            <p:nvPr/>
          </p:nvSpPr>
          <p:spPr>
            <a:xfrm>
              <a:off x="1991978" y="-1833792"/>
              <a:ext cx="8611721" cy="2932598"/>
            </a:xfrm>
            <a:custGeom>
              <a:avLst/>
              <a:gdLst>
                <a:gd name="connsiteX0" fmla="*/ 8471093 w 8611721"/>
                <a:gd name="connsiteY0" fmla="*/ 2886852 h 2932598"/>
                <a:gd name="connsiteX1" fmla="*/ 8566029 w 8611721"/>
                <a:gd name="connsiteY1" fmla="*/ 2474829 h 2932598"/>
                <a:gd name="connsiteX2" fmla="*/ 7484388 w 8611721"/>
                <a:gd name="connsiteY2" fmla="*/ 1232429 h 2932598"/>
                <a:gd name="connsiteX3" fmla="*/ 6073634 w 8611721"/>
                <a:gd name="connsiteY3" fmla="*/ 384330 h 2932598"/>
                <a:gd name="connsiteX4" fmla="*/ 4469210 w 8611721"/>
                <a:gd name="connsiteY4" fmla="*/ 12813 h 2932598"/>
                <a:gd name="connsiteX5" fmla="*/ 2828710 w 8611721"/>
                <a:gd name="connsiteY5" fmla="*/ 157749 h 2932598"/>
                <a:gd name="connsiteX6" fmla="*/ 1312261 w 8611721"/>
                <a:gd name="connsiteY6" fmla="*/ 800152 h 2932598"/>
                <a:gd name="connsiteX7" fmla="*/ 69860 w 8611721"/>
                <a:gd name="connsiteY7" fmla="*/ 1881793 h 2932598"/>
                <a:gd name="connsiteX8" fmla="*/ 107202 w 8611721"/>
                <a:gd name="connsiteY8" fmla="*/ 2303311 h 2932598"/>
                <a:gd name="connsiteX9" fmla="*/ 528719 w 8611721"/>
                <a:gd name="connsiteY9" fmla="*/ 2265969 h 2932598"/>
                <a:gd name="connsiteX10" fmla="*/ 1629981 w 8611721"/>
                <a:gd name="connsiteY10" fmla="*/ 1307745 h 2932598"/>
                <a:gd name="connsiteX11" fmla="*/ 2974279 w 8611721"/>
                <a:gd name="connsiteY11" fmla="*/ 738760 h 2932598"/>
                <a:gd name="connsiteX12" fmla="*/ 4428071 w 8611721"/>
                <a:gd name="connsiteY12" fmla="*/ 610279 h 2932598"/>
                <a:gd name="connsiteX13" fmla="*/ 5849585 w 8611721"/>
                <a:gd name="connsiteY13" fmla="*/ 939392 h 2932598"/>
                <a:gd name="connsiteX14" fmla="*/ 7100845 w 8611721"/>
                <a:gd name="connsiteY14" fmla="*/ 1691287 h 2932598"/>
                <a:gd name="connsiteX15" fmla="*/ 8059069 w 8611721"/>
                <a:gd name="connsiteY15" fmla="*/ 2791916 h 2932598"/>
                <a:gd name="connsiteX16" fmla="*/ 8385017 w 8611721"/>
                <a:gd name="connsiteY16" fmla="*/ 2923561 h 2932598"/>
                <a:gd name="connsiteX17" fmla="*/ 8471093 w 8611721"/>
                <a:gd name="connsiteY17" fmla="*/ 2886852 h 2932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11721" h="2932598">
                  <a:moveTo>
                    <a:pt x="8471093" y="2886852"/>
                  </a:moveTo>
                  <a:cubicBezTo>
                    <a:pt x="8610965" y="2799511"/>
                    <a:pt x="8654003" y="2614701"/>
                    <a:pt x="8566029" y="2474829"/>
                  </a:cubicBezTo>
                  <a:cubicBezTo>
                    <a:pt x="8273626" y="2006476"/>
                    <a:pt x="7909703" y="1588123"/>
                    <a:pt x="7484388" y="1232429"/>
                  </a:cubicBezTo>
                  <a:cubicBezTo>
                    <a:pt x="7060339" y="877367"/>
                    <a:pt x="6585657" y="591925"/>
                    <a:pt x="6073634" y="384330"/>
                  </a:cubicBezTo>
                  <a:cubicBezTo>
                    <a:pt x="5559712" y="176103"/>
                    <a:pt x="5019841" y="51420"/>
                    <a:pt x="4469210" y="12813"/>
                  </a:cubicBezTo>
                  <a:cubicBezTo>
                    <a:pt x="3919845" y="-25795"/>
                    <a:pt x="3367949" y="22939"/>
                    <a:pt x="2828710" y="157749"/>
                  </a:cubicBezTo>
                  <a:cubicBezTo>
                    <a:pt x="2289472" y="292559"/>
                    <a:pt x="1779347" y="508381"/>
                    <a:pt x="1312261" y="800152"/>
                  </a:cubicBezTo>
                  <a:cubicBezTo>
                    <a:pt x="843908" y="1092556"/>
                    <a:pt x="425555" y="1456478"/>
                    <a:pt x="69860" y="1881793"/>
                  </a:cubicBezTo>
                  <a:cubicBezTo>
                    <a:pt x="-36468" y="2008375"/>
                    <a:pt x="-19380" y="2196982"/>
                    <a:pt x="107202" y="2303311"/>
                  </a:cubicBezTo>
                  <a:cubicBezTo>
                    <a:pt x="233784" y="2409639"/>
                    <a:pt x="422391" y="2392551"/>
                    <a:pt x="528719" y="2265969"/>
                  </a:cubicBezTo>
                  <a:cubicBezTo>
                    <a:pt x="844541" y="1888755"/>
                    <a:pt x="1214793" y="1566604"/>
                    <a:pt x="1629981" y="1307745"/>
                  </a:cubicBezTo>
                  <a:cubicBezTo>
                    <a:pt x="2043903" y="1049518"/>
                    <a:pt x="2495800" y="857746"/>
                    <a:pt x="2974279" y="738760"/>
                  </a:cubicBezTo>
                  <a:cubicBezTo>
                    <a:pt x="3452125" y="619773"/>
                    <a:pt x="3941364" y="576102"/>
                    <a:pt x="4428071" y="610279"/>
                  </a:cubicBezTo>
                  <a:cubicBezTo>
                    <a:pt x="4916044" y="644456"/>
                    <a:pt x="5394523" y="755215"/>
                    <a:pt x="5849585" y="939392"/>
                  </a:cubicBezTo>
                  <a:cubicBezTo>
                    <a:pt x="6304013" y="1123568"/>
                    <a:pt x="6724897" y="1376732"/>
                    <a:pt x="7100845" y="1691287"/>
                  </a:cubicBezTo>
                  <a:cubicBezTo>
                    <a:pt x="7477426" y="2006476"/>
                    <a:pt x="7799577" y="2377361"/>
                    <a:pt x="8059069" y="2791916"/>
                  </a:cubicBezTo>
                  <a:cubicBezTo>
                    <a:pt x="8129322" y="2904574"/>
                    <a:pt x="8262866" y="2954574"/>
                    <a:pt x="8385017" y="2923561"/>
                  </a:cubicBezTo>
                  <a:cubicBezTo>
                    <a:pt x="8414764" y="2915966"/>
                    <a:pt x="8443877" y="2903941"/>
                    <a:pt x="8471093" y="2886852"/>
                  </a:cubicBezTo>
                  <a:close/>
                </a:path>
              </a:pathLst>
            </a:custGeom>
            <a:solidFill>
              <a:schemeClr val="tx2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Graphic 26">
              <a:extLst>
                <a:ext uri="{FF2B5EF4-FFF2-40B4-BE49-F238E27FC236}">
                  <a16:creationId xmlns:a16="http://schemas.microsoft.com/office/drawing/2014/main" id="{FD8FDC39-6BF9-4BF8-9C2B-3CBD4B63715E}"/>
                </a:ext>
              </a:extLst>
            </p:cNvPr>
            <p:cNvSpPr/>
            <p:nvPr/>
          </p:nvSpPr>
          <p:spPr>
            <a:xfrm>
              <a:off x="978867" y="4332096"/>
              <a:ext cx="2223713" cy="3200336"/>
            </a:xfrm>
            <a:custGeom>
              <a:avLst/>
              <a:gdLst>
                <a:gd name="connsiteX0" fmla="*/ 2153853 w 2223713"/>
                <a:gd name="connsiteY0" fmla="*/ 3093091 h 3200336"/>
                <a:gd name="connsiteX1" fmla="*/ 2116512 w 2223713"/>
                <a:gd name="connsiteY1" fmla="*/ 2671573 h 3200336"/>
                <a:gd name="connsiteX2" fmla="*/ 1158288 w 2223713"/>
                <a:gd name="connsiteY2" fmla="*/ 1570945 h 3200336"/>
                <a:gd name="connsiteX3" fmla="*/ 589303 w 2223713"/>
                <a:gd name="connsiteY3" fmla="*/ 226646 h 3200336"/>
                <a:gd name="connsiteX4" fmla="*/ 226646 w 2223713"/>
                <a:gd name="connsiteY4" fmla="*/ 8925 h 3200336"/>
                <a:gd name="connsiteX5" fmla="*/ 8925 w 2223713"/>
                <a:gd name="connsiteY5" fmla="*/ 371582 h 3200336"/>
                <a:gd name="connsiteX6" fmla="*/ 651328 w 2223713"/>
                <a:gd name="connsiteY6" fmla="*/ 1888032 h 3200336"/>
                <a:gd name="connsiteX7" fmla="*/ 1732969 w 2223713"/>
                <a:gd name="connsiteY7" fmla="*/ 3130432 h 3200336"/>
                <a:gd name="connsiteX8" fmla="*/ 1997525 w 2223713"/>
                <a:gd name="connsiteY8" fmla="*/ 3191192 h 3200336"/>
                <a:gd name="connsiteX9" fmla="*/ 2153853 w 2223713"/>
                <a:gd name="connsiteY9" fmla="*/ 3093091 h 3200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3713" h="3200336">
                  <a:moveTo>
                    <a:pt x="2153853" y="3093091"/>
                  </a:moveTo>
                  <a:cubicBezTo>
                    <a:pt x="2260182" y="2966509"/>
                    <a:pt x="2243094" y="2777902"/>
                    <a:pt x="2116512" y="2671573"/>
                  </a:cubicBezTo>
                  <a:cubicBezTo>
                    <a:pt x="1739931" y="2356385"/>
                    <a:pt x="1417780" y="1985500"/>
                    <a:pt x="1158288" y="1570945"/>
                  </a:cubicBezTo>
                  <a:cubicBezTo>
                    <a:pt x="900061" y="1157022"/>
                    <a:pt x="708290" y="705125"/>
                    <a:pt x="589303" y="226646"/>
                  </a:cubicBezTo>
                  <a:cubicBezTo>
                    <a:pt x="549429" y="66520"/>
                    <a:pt x="386772" y="-30948"/>
                    <a:pt x="226646" y="8925"/>
                  </a:cubicBezTo>
                  <a:cubicBezTo>
                    <a:pt x="66520" y="48799"/>
                    <a:pt x="-30948" y="211456"/>
                    <a:pt x="8925" y="371582"/>
                  </a:cubicBezTo>
                  <a:cubicBezTo>
                    <a:pt x="143102" y="910820"/>
                    <a:pt x="359557" y="1420945"/>
                    <a:pt x="651328" y="1888032"/>
                  </a:cubicBezTo>
                  <a:cubicBezTo>
                    <a:pt x="943732" y="2356385"/>
                    <a:pt x="1307654" y="2774737"/>
                    <a:pt x="1732969" y="3130432"/>
                  </a:cubicBezTo>
                  <a:cubicBezTo>
                    <a:pt x="1809551" y="3194356"/>
                    <a:pt x="1908285" y="3213976"/>
                    <a:pt x="1997525" y="3191192"/>
                  </a:cubicBezTo>
                  <a:cubicBezTo>
                    <a:pt x="2056386" y="3176634"/>
                    <a:pt x="2112082" y="3143091"/>
                    <a:pt x="2153853" y="3093091"/>
                  </a:cubicBezTo>
                  <a:close/>
                </a:path>
              </a:pathLst>
            </a:custGeom>
            <a:solidFill>
              <a:schemeClr val="tx2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Graphic 26">
              <a:extLst>
                <a:ext uri="{FF2B5EF4-FFF2-40B4-BE49-F238E27FC236}">
                  <a16:creationId xmlns:a16="http://schemas.microsoft.com/office/drawing/2014/main" id="{C3F3B112-A3DD-428B-B8FC-984402949441}"/>
                </a:ext>
              </a:extLst>
            </p:cNvPr>
            <p:cNvSpPr/>
            <p:nvPr/>
          </p:nvSpPr>
          <p:spPr>
            <a:xfrm>
              <a:off x="2327027" y="1654323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1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1"/>
                    <a:pt x="598732" y="299366"/>
                  </a:cubicBezTo>
                  <a:close/>
                </a:path>
              </a:pathLst>
            </a:custGeom>
            <a:solidFill>
              <a:schemeClr val="tx2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Graphic 26">
              <a:extLst>
                <a:ext uri="{FF2B5EF4-FFF2-40B4-BE49-F238E27FC236}">
                  <a16:creationId xmlns:a16="http://schemas.microsoft.com/office/drawing/2014/main" id="{FD8E33AC-2258-4359-A3AC-0A48DD3D7E5E}"/>
                </a:ext>
              </a:extLst>
            </p:cNvPr>
            <p:cNvSpPr/>
            <p:nvPr/>
          </p:nvSpPr>
          <p:spPr>
            <a:xfrm>
              <a:off x="2024171" y="2868149"/>
              <a:ext cx="711147" cy="1773568"/>
            </a:xfrm>
            <a:custGeom>
              <a:avLst/>
              <a:gdLst>
                <a:gd name="connsiteX0" fmla="*/ 702222 w 711147"/>
                <a:gd name="connsiteY0" fmla="*/ 1401986 h 1773568"/>
                <a:gd name="connsiteX1" fmla="*/ 606653 w 711147"/>
                <a:gd name="connsiteY1" fmla="*/ 319712 h 1773568"/>
                <a:gd name="connsiteX2" fmla="*/ 328806 w 711147"/>
                <a:gd name="connsiteY2" fmla="*/ 726 h 1773568"/>
                <a:gd name="connsiteX3" fmla="*/ 9820 w 711147"/>
                <a:gd name="connsiteY3" fmla="*/ 278573 h 1773568"/>
                <a:gd name="connsiteX4" fmla="*/ 121845 w 711147"/>
                <a:gd name="connsiteY4" fmla="*/ 1546923 h 1773568"/>
                <a:gd name="connsiteX5" fmla="*/ 484502 w 711147"/>
                <a:gd name="connsiteY5" fmla="*/ 1764643 h 1773568"/>
                <a:gd name="connsiteX6" fmla="*/ 702222 w 711147"/>
                <a:gd name="connsiteY6" fmla="*/ 1401986 h 1773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1147" h="1773568">
                  <a:moveTo>
                    <a:pt x="702222" y="1401986"/>
                  </a:moveTo>
                  <a:cubicBezTo>
                    <a:pt x="613615" y="1046291"/>
                    <a:pt x="581337" y="682368"/>
                    <a:pt x="606653" y="319712"/>
                  </a:cubicBezTo>
                  <a:cubicBezTo>
                    <a:pt x="618045" y="155156"/>
                    <a:pt x="493995" y="12118"/>
                    <a:pt x="328806" y="726"/>
                  </a:cubicBezTo>
                  <a:cubicBezTo>
                    <a:pt x="164250" y="-10666"/>
                    <a:pt x="21212" y="113384"/>
                    <a:pt x="9820" y="278573"/>
                  </a:cubicBezTo>
                  <a:cubicBezTo>
                    <a:pt x="-19927" y="703255"/>
                    <a:pt x="18048" y="1129836"/>
                    <a:pt x="121845" y="1546923"/>
                  </a:cubicBezTo>
                  <a:cubicBezTo>
                    <a:pt x="161718" y="1707048"/>
                    <a:pt x="324376" y="1804516"/>
                    <a:pt x="484502" y="1764643"/>
                  </a:cubicBezTo>
                  <a:cubicBezTo>
                    <a:pt x="644628" y="1724770"/>
                    <a:pt x="742095" y="1562112"/>
                    <a:pt x="702222" y="1401986"/>
                  </a:cubicBezTo>
                  <a:close/>
                </a:path>
              </a:pathLst>
            </a:custGeom>
            <a:solidFill>
              <a:schemeClr val="accent3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Graphic 26">
              <a:extLst>
                <a:ext uri="{FF2B5EF4-FFF2-40B4-BE49-F238E27FC236}">
                  <a16:creationId xmlns:a16="http://schemas.microsoft.com/office/drawing/2014/main" id="{C52EA6D5-D913-4438-9AB8-5A0B783C2AF8}"/>
                </a:ext>
              </a:extLst>
            </p:cNvPr>
            <p:cNvSpPr/>
            <p:nvPr/>
          </p:nvSpPr>
          <p:spPr>
            <a:xfrm>
              <a:off x="10611107" y="1930207"/>
              <a:ext cx="747051" cy="2145218"/>
            </a:xfrm>
            <a:custGeom>
              <a:avLst/>
              <a:gdLst>
                <a:gd name="connsiteX0" fmla="*/ 734239 w 747051"/>
                <a:gd name="connsiteY0" fmla="*/ 1867146 h 2145218"/>
                <a:gd name="connsiteX1" fmla="*/ 589302 w 747051"/>
                <a:gd name="connsiteY1" fmla="*/ 226646 h 2145218"/>
                <a:gd name="connsiteX2" fmla="*/ 226645 w 747051"/>
                <a:gd name="connsiteY2" fmla="*/ 8925 h 2145218"/>
                <a:gd name="connsiteX3" fmla="*/ 8925 w 747051"/>
                <a:gd name="connsiteY3" fmla="*/ 371582 h 2145218"/>
                <a:gd name="connsiteX4" fmla="*/ 137405 w 747051"/>
                <a:gd name="connsiteY4" fmla="*/ 1825374 h 2145218"/>
                <a:gd name="connsiteX5" fmla="*/ 415253 w 747051"/>
                <a:gd name="connsiteY5" fmla="*/ 2144360 h 2145218"/>
                <a:gd name="connsiteX6" fmla="*/ 508290 w 747051"/>
                <a:gd name="connsiteY6" fmla="*/ 2136132 h 2145218"/>
                <a:gd name="connsiteX7" fmla="*/ 734239 w 747051"/>
                <a:gd name="connsiteY7" fmla="*/ 1867146 h 2145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7051" h="2145218">
                  <a:moveTo>
                    <a:pt x="734239" y="1867146"/>
                  </a:moveTo>
                  <a:cubicBezTo>
                    <a:pt x="772846" y="1317781"/>
                    <a:pt x="724112" y="765885"/>
                    <a:pt x="589302" y="226646"/>
                  </a:cubicBezTo>
                  <a:cubicBezTo>
                    <a:pt x="549429" y="66520"/>
                    <a:pt x="386772" y="-30948"/>
                    <a:pt x="226645" y="8925"/>
                  </a:cubicBezTo>
                  <a:cubicBezTo>
                    <a:pt x="66520" y="48799"/>
                    <a:pt x="-30948" y="211456"/>
                    <a:pt x="8925" y="371582"/>
                  </a:cubicBezTo>
                  <a:cubicBezTo>
                    <a:pt x="127912" y="849429"/>
                    <a:pt x="171583" y="1338667"/>
                    <a:pt x="137405" y="1825374"/>
                  </a:cubicBezTo>
                  <a:cubicBezTo>
                    <a:pt x="126013" y="1989930"/>
                    <a:pt x="250063" y="2132967"/>
                    <a:pt x="415253" y="2144360"/>
                  </a:cubicBezTo>
                  <a:cubicBezTo>
                    <a:pt x="447531" y="2146892"/>
                    <a:pt x="478543" y="2143727"/>
                    <a:pt x="508290" y="2136132"/>
                  </a:cubicBezTo>
                  <a:cubicBezTo>
                    <a:pt x="630442" y="2106386"/>
                    <a:pt x="725378" y="2000057"/>
                    <a:pt x="734239" y="1867146"/>
                  </a:cubicBezTo>
                  <a:close/>
                </a:path>
              </a:pathLst>
            </a:custGeom>
            <a:solidFill>
              <a:schemeClr val="accent3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Graphic 26">
              <a:extLst>
                <a:ext uri="{FF2B5EF4-FFF2-40B4-BE49-F238E27FC236}">
                  <a16:creationId xmlns:a16="http://schemas.microsoft.com/office/drawing/2014/main" id="{432AFDB6-8512-4E66-9DFB-1644E70853CA}"/>
                </a:ext>
              </a:extLst>
            </p:cNvPr>
            <p:cNvSpPr/>
            <p:nvPr/>
          </p:nvSpPr>
          <p:spPr>
            <a:xfrm>
              <a:off x="572481" y="6394687"/>
              <a:ext cx="10537663" cy="3492803"/>
            </a:xfrm>
            <a:custGeom>
              <a:avLst/>
              <a:gdLst>
                <a:gd name="connsiteX0" fmla="*/ 8943759 w 10537663"/>
                <a:gd name="connsiteY0" fmla="*/ 2512139 h 3492803"/>
                <a:gd name="connsiteX1" fmla="*/ 10467803 w 10537663"/>
                <a:gd name="connsiteY1" fmla="*/ 1185562 h 3492803"/>
                <a:gd name="connsiteX2" fmla="*/ 10430462 w 10537663"/>
                <a:gd name="connsiteY2" fmla="*/ 764045 h 3492803"/>
                <a:gd name="connsiteX3" fmla="*/ 10008944 w 10537663"/>
                <a:gd name="connsiteY3" fmla="*/ 801386 h 3492803"/>
                <a:gd name="connsiteX4" fmla="*/ 8626671 w 10537663"/>
                <a:gd name="connsiteY4" fmla="*/ 2004546 h 3492803"/>
                <a:gd name="connsiteX5" fmla="*/ 6938703 w 10537663"/>
                <a:gd name="connsiteY5" fmla="*/ 2719100 h 3492803"/>
                <a:gd name="connsiteX6" fmla="*/ 5112761 w 10537663"/>
                <a:gd name="connsiteY6" fmla="*/ 2880491 h 3492803"/>
                <a:gd name="connsiteX7" fmla="*/ 3327325 w 10537663"/>
                <a:gd name="connsiteY7" fmla="*/ 2467202 h 3492803"/>
                <a:gd name="connsiteX8" fmla="*/ 1755813 w 10537663"/>
                <a:gd name="connsiteY8" fmla="*/ 1522902 h 3492803"/>
                <a:gd name="connsiteX9" fmla="*/ 552653 w 10537663"/>
                <a:gd name="connsiteY9" fmla="*/ 140629 h 3492803"/>
                <a:gd name="connsiteX10" fmla="*/ 140629 w 10537663"/>
                <a:gd name="connsiteY10" fmla="*/ 45693 h 3492803"/>
                <a:gd name="connsiteX11" fmla="*/ 45693 w 10537663"/>
                <a:gd name="connsiteY11" fmla="*/ 457717 h 3492803"/>
                <a:gd name="connsiteX12" fmla="*/ 1372270 w 10537663"/>
                <a:gd name="connsiteY12" fmla="*/ 1981761 h 3492803"/>
                <a:gd name="connsiteX13" fmla="*/ 3103275 w 10537663"/>
                <a:gd name="connsiteY13" fmla="*/ 3021630 h 3492803"/>
                <a:gd name="connsiteX14" fmla="*/ 5071622 w 10537663"/>
                <a:gd name="connsiteY14" fmla="*/ 3477325 h 3492803"/>
                <a:gd name="connsiteX15" fmla="*/ 7083639 w 10537663"/>
                <a:gd name="connsiteY15" fmla="*/ 3299478 h 3492803"/>
                <a:gd name="connsiteX16" fmla="*/ 8943759 w 10537663"/>
                <a:gd name="connsiteY16" fmla="*/ 2512139 h 3492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37663" h="3492803">
                  <a:moveTo>
                    <a:pt x="8943759" y="2512139"/>
                  </a:moveTo>
                  <a:cubicBezTo>
                    <a:pt x="9518439" y="2153280"/>
                    <a:pt x="10031095" y="1707079"/>
                    <a:pt x="10467803" y="1185562"/>
                  </a:cubicBezTo>
                  <a:cubicBezTo>
                    <a:pt x="10574132" y="1058980"/>
                    <a:pt x="10557043" y="870373"/>
                    <a:pt x="10430462" y="764045"/>
                  </a:cubicBezTo>
                  <a:cubicBezTo>
                    <a:pt x="10303880" y="657716"/>
                    <a:pt x="10115273" y="674804"/>
                    <a:pt x="10008944" y="801386"/>
                  </a:cubicBezTo>
                  <a:cubicBezTo>
                    <a:pt x="9612743" y="1274169"/>
                    <a:pt x="9147555" y="1679231"/>
                    <a:pt x="8626671" y="2004546"/>
                  </a:cubicBezTo>
                  <a:cubicBezTo>
                    <a:pt x="8107053" y="2329228"/>
                    <a:pt x="7539334" y="2569733"/>
                    <a:pt x="6938703" y="2719100"/>
                  </a:cubicBezTo>
                  <a:cubicBezTo>
                    <a:pt x="6338073" y="2869100"/>
                    <a:pt x="5724151" y="2922897"/>
                    <a:pt x="5112761" y="2880491"/>
                  </a:cubicBezTo>
                  <a:cubicBezTo>
                    <a:pt x="4500105" y="2837454"/>
                    <a:pt x="3899475" y="2698847"/>
                    <a:pt x="3327325" y="2467202"/>
                  </a:cubicBezTo>
                  <a:cubicBezTo>
                    <a:pt x="2756441" y="2236191"/>
                    <a:pt x="2227963" y="1918470"/>
                    <a:pt x="1755813" y="1522902"/>
                  </a:cubicBezTo>
                  <a:cubicBezTo>
                    <a:pt x="1283030" y="1126701"/>
                    <a:pt x="877968" y="661513"/>
                    <a:pt x="552653" y="140629"/>
                  </a:cubicBezTo>
                  <a:cubicBezTo>
                    <a:pt x="465311" y="756"/>
                    <a:pt x="280502" y="-42282"/>
                    <a:pt x="140629" y="45693"/>
                  </a:cubicBezTo>
                  <a:cubicBezTo>
                    <a:pt x="756" y="133034"/>
                    <a:pt x="-42282" y="317844"/>
                    <a:pt x="45693" y="457717"/>
                  </a:cubicBezTo>
                  <a:cubicBezTo>
                    <a:pt x="404552" y="1032397"/>
                    <a:pt x="850753" y="1545054"/>
                    <a:pt x="1372270" y="1981761"/>
                  </a:cubicBezTo>
                  <a:cubicBezTo>
                    <a:pt x="1891888" y="2417202"/>
                    <a:pt x="2474797" y="2767201"/>
                    <a:pt x="3103275" y="3021630"/>
                  </a:cubicBezTo>
                  <a:cubicBezTo>
                    <a:pt x="3733653" y="3276693"/>
                    <a:pt x="4395675" y="3430489"/>
                    <a:pt x="5071622" y="3477325"/>
                  </a:cubicBezTo>
                  <a:cubicBezTo>
                    <a:pt x="5745670" y="3524160"/>
                    <a:pt x="6422250" y="3464667"/>
                    <a:pt x="7083639" y="3299478"/>
                  </a:cubicBezTo>
                  <a:cubicBezTo>
                    <a:pt x="7745029" y="3134921"/>
                    <a:pt x="8370976" y="2869732"/>
                    <a:pt x="8943759" y="2512139"/>
                  </a:cubicBezTo>
                  <a:close/>
                </a:path>
              </a:pathLst>
            </a:custGeom>
            <a:solidFill>
              <a:schemeClr val="accent3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Graphic 26">
              <a:extLst>
                <a:ext uri="{FF2B5EF4-FFF2-40B4-BE49-F238E27FC236}">
                  <a16:creationId xmlns:a16="http://schemas.microsoft.com/office/drawing/2014/main" id="{FAD1ADB4-D233-4BE2-8B96-B7C817E06784}"/>
                </a:ext>
              </a:extLst>
            </p:cNvPr>
            <p:cNvSpPr/>
            <p:nvPr/>
          </p:nvSpPr>
          <p:spPr>
            <a:xfrm>
              <a:off x="2561836" y="5068866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1" y="598732"/>
                    <a:pt x="299366" y="598732"/>
                  </a:cubicBezTo>
                  <a:cubicBezTo>
                    <a:pt x="134031" y="598732"/>
                    <a:pt x="0" y="464702"/>
                    <a:pt x="0" y="299366"/>
                  </a:cubicBezTo>
                  <a:cubicBezTo>
                    <a:pt x="0" y="134031"/>
                    <a:pt x="134031" y="0"/>
                    <a:pt x="299366" y="0"/>
                  </a:cubicBezTo>
                  <a:cubicBezTo>
                    <a:pt x="464701" y="0"/>
                    <a:pt x="598732" y="134030"/>
                    <a:pt x="598732" y="299366"/>
                  </a:cubicBezTo>
                  <a:close/>
                </a:path>
              </a:pathLst>
            </a:custGeom>
            <a:solidFill>
              <a:schemeClr val="accent3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Graphic 26">
              <a:extLst>
                <a:ext uri="{FF2B5EF4-FFF2-40B4-BE49-F238E27FC236}">
                  <a16:creationId xmlns:a16="http://schemas.microsoft.com/office/drawing/2014/main" id="{09ABA772-0F45-4A1C-A199-B1451C9C1AF9}"/>
                </a:ext>
              </a:extLst>
            </p:cNvPr>
            <p:cNvSpPr/>
            <p:nvPr/>
          </p:nvSpPr>
          <p:spPr>
            <a:xfrm>
              <a:off x="8221307" y="246101"/>
              <a:ext cx="598731" cy="598731"/>
            </a:xfrm>
            <a:custGeom>
              <a:avLst/>
              <a:gdLst>
                <a:gd name="connsiteX0" fmla="*/ 598732 w 598731"/>
                <a:gd name="connsiteY0" fmla="*/ 299366 h 598731"/>
                <a:gd name="connsiteX1" fmla="*/ 299366 w 598731"/>
                <a:gd name="connsiteY1" fmla="*/ 598732 h 598731"/>
                <a:gd name="connsiteX2" fmla="*/ 0 w 598731"/>
                <a:gd name="connsiteY2" fmla="*/ 299366 h 598731"/>
                <a:gd name="connsiteX3" fmla="*/ 299366 w 598731"/>
                <a:gd name="connsiteY3" fmla="*/ 0 h 598731"/>
                <a:gd name="connsiteX4" fmla="*/ 598732 w 598731"/>
                <a:gd name="connsiteY4" fmla="*/ 299366 h 59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8731" h="598731">
                  <a:moveTo>
                    <a:pt x="598732" y="299366"/>
                  </a:moveTo>
                  <a:cubicBezTo>
                    <a:pt x="598732" y="464701"/>
                    <a:pt x="464702" y="598732"/>
                    <a:pt x="299366" y="598732"/>
                  </a:cubicBezTo>
                  <a:cubicBezTo>
                    <a:pt x="134031" y="598732"/>
                    <a:pt x="0" y="464701"/>
                    <a:pt x="0" y="299366"/>
                  </a:cubicBezTo>
                  <a:cubicBezTo>
                    <a:pt x="0" y="134031"/>
                    <a:pt x="134030" y="0"/>
                    <a:pt x="299366" y="0"/>
                  </a:cubicBezTo>
                  <a:cubicBezTo>
                    <a:pt x="464701" y="0"/>
                    <a:pt x="598732" y="134031"/>
                    <a:pt x="598732" y="299366"/>
                  </a:cubicBezTo>
                  <a:close/>
                </a:path>
              </a:pathLst>
            </a:custGeom>
            <a:solidFill>
              <a:schemeClr val="accent3"/>
            </a:solidFill>
            <a:ln w="63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0C864D-B184-48E2-8C4C-53FC2E6BF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25000" y="1458299"/>
            <a:ext cx="3942000" cy="3941402"/>
          </a:xfrm>
        </p:spPr>
        <p:txBody>
          <a:bodyPr anchor="ctr">
            <a:normAutofit/>
          </a:bodyPr>
          <a:lstStyle>
            <a:lvl1pPr algn="ctr">
              <a:defRPr sz="4800" b="1">
                <a:solidFill>
                  <a:schemeClr val="tx1"/>
                </a:solidFill>
                <a:latin typeface="Hurme Geometric Sans 4 Bold" panose="020B0A00020000000000" pitchFamily="34" charset="0"/>
              </a:defRPr>
            </a:lvl1pPr>
            <a:lvl2pPr algn="ctr">
              <a:defRPr b="1">
                <a:solidFill>
                  <a:schemeClr val="accent6"/>
                </a:solidFill>
              </a:defRPr>
            </a:lvl2pPr>
            <a:lvl3pPr algn="ctr">
              <a:defRPr b="1">
                <a:solidFill>
                  <a:schemeClr val="accent6"/>
                </a:solidFill>
              </a:defRPr>
            </a:lvl3pPr>
            <a:lvl4pPr algn="ctr">
              <a:defRPr b="1">
                <a:solidFill>
                  <a:schemeClr val="accent6"/>
                </a:solidFill>
              </a:defRPr>
            </a:lvl4pPr>
            <a:lvl5pPr algn="ctr">
              <a:defRPr b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Divid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90879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C19E66-B241-46E9-90E9-26B6B8D10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262621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44" imgW="473" imgH="476" progId="TCLayout.ActiveDocument.1">
                  <p:embed/>
                </p:oleObj>
              </mc:Choice>
              <mc:Fallback>
                <p:oleObj name="think-cell Slide" r:id="rId4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C19E66-B241-46E9-90E9-26B6B8D10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1987" y="598516"/>
            <a:ext cx="10208027" cy="109217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1987" y="1825626"/>
            <a:ext cx="10208027" cy="403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6C2E8D1-934D-41E3-B4E7-9244365BB4B1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0693193" y="6242138"/>
            <a:ext cx="1116000" cy="2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157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7" r:id="rId2"/>
    <p:sldLayoutId id="2147484316" r:id="rId3"/>
    <p:sldLayoutId id="2147484318" r:id="rId4"/>
    <p:sldLayoutId id="2147484325" r:id="rId5"/>
    <p:sldLayoutId id="2147484327" r:id="rId6"/>
    <p:sldLayoutId id="2147484326" r:id="rId7"/>
    <p:sldLayoutId id="2147484328" r:id="rId8"/>
    <p:sldLayoutId id="2147484341" r:id="rId9"/>
    <p:sldLayoutId id="2147484366" r:id="rId10"/>
    <p:sldLayoutId id="2147484344" r:id="rId11"/>
    <p:sldLayoutId id="2147484373" r:id="rId12"/>
    <p:sldLayoutId id="2147484372" r:id="rId13"/>
    <p:sldLayoutId id="2147484358" r:id="rId14"/>
    <p:sldLayoutId id="2147484346" r:id="rId15"/>
    <p:sldLayoutId id="2147484347" r:id="rId16"/>
    <p:sldLayoutId id="2147484387" r:id="rId17"/>
    <p:sldLayoutId id="2147484355" r:id="rId18"/>
    <p:sldLayoutId id="2147484348" r:id="rId19"/>
    <p:sldLayoutId id="2147484393" r:id="rId20"/>
    <p:sldLayoutId id="2147484432" r:id="rId21"/>
    <p:sldLayoutId id="2147484433" r:id="rId22"/>
    <p:sldLayoutId id="2147484424" r:id="rId23"/>
    <p:sldLayoutId id="2147484428" r:id="rId24"/>
    <p:sldLayoutId id="2147484430" r:id="rId25"/>
    <p:sldLayoutId id="2147484431" r:id="rId26"/>
    <p:sldLayoutId id="2147484349" r:id="rId27"/>
    <p:sldLayoutId id="2147484399" r:id="rId28"/>
    <p:sldLayoutId id="2147484415" r:id="rId29"/>
    <p:sldLayoutId id="2147484416" r:id="rId30"/>
    <p:sldLayoutId id="2147484418" r:id="rId31"/>
    <p:sldLayoutId id="2147484419" r:id="rId32"/>
    <p:sldLayoutId id="2147484420" r:id="rId33"/>
    <p:sldLayoutId id="2147484423" r:id="rId34"/>
    <p:sldLayoutId id="2147484350" r:id="rId35"/>
    <p:sldLayoutId id="2147484405" r:id="rId36"/>
    <p:sldLayoutId id="2147484354" r:id="rId37"/>
    <p:sldLayoutId id="2147484413" r:id="rId38"/>
    <p:sldLayoutId id="2147484365" r:id="rId39"/>
    <p:sldLayoutId id="2147484412" r:id="rId40"/>
  </p:sldLayoutIdLst>
  <p:txStyles>
    <p:titleStyle>
      <a:lvl1pPr algn="ctr" defTabSz="914377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Hurme Geometric Sans 4 Bold" panose="020B0A00020000000000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HurmeGeometricSans1 Regular" panose="020B0500020000000000" pitchFamily="34" charset="0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400" b="0" i="0" kern="1200">
          <a:solidFill>
            <a:schemeClr val="tx2"/>
          </a:solidFill>
          <a:latin typeface="HurmeGeometricSans1 Regular" panose="020B0500020000000000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13" Type="http://schemas.openxmlformats.org/officeDocument/2006/relationships/image" Target="../media/image47.emf"/><Relationship Id="rId18" Type="http://schemas.openxmlformats.org/officeDocument/2006/relationships/image" Target="../media/image50.emf"/><Relationship Id="rId3" Type="http://schemas.openxmlformats.org/officeDocument/2006/relationships/image" Target="../media/image38.png"/><Relationship Id="rId21" Type="http://schemas.openxmlformats.org/officeDocument/2006/relationships/image" Target="../media/image53.emf"/><Relationship Id="rId7" Type="http://schemas.openxmlformats.org/officeDocument/2006/relationships/image" Target="../media/image41.emf"/><Relationship Id="rId12" Type="http://schemas.openxmlformats.org/officeDocument/2006/relationships/image" Target="../media/image46.emf"/><Relationship Id="rId17" Type="http://schemas.openxmlformats.org/officeDocument/2006/relationships/image" Target="../media/image31.emf"/><Relationship Id="rId25" Type="http://schemas.openxmlformats.org/officeDocument/2006/relationships/image" Target="../media/image57.emf"/><Relationship Id="rId2" Type="http://schemas.openxmlformats.org/officeDocument/2006/relationships/image" Target="../media/image12.png"/><Relationship Id="rId16" Type="http://schemas.openxmlformats.org/officeDocument/2006/relationships/image" Target="../media/image30.emf"/><Relationship Id="rId20" Type="http://schemas.openxmlformats.org/officeDocument/2006/relationships/image" Target="../media/image52.em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0.emf"/><Relationship Id="rId11" Type="http://schemas.openxmlformats.org/officeDocument/2006/relationships/image" Target="../media/image45.emf"/><Relationship Id="rId24" Type="http://schemas.openxmlformats.org/officeDocument/2006/relationships/image" Target="../media/image56.emf"/><Relationship Id="rId5" Type="http://schemas.openxmlformats.org/officeDocument/2006/relationships/image" Target="../media/image39.emf"/><Relationship Id="rId15" Type="http://schemas.openxmlformats.org/officeDocument/2006/relationships/image" Target="../media/image49.emf"/><Relationship Id="rId23" Type="http://schemas.openxmlformats.org/officeDocument/2006/relationships/image" Target="../media/image55.emf"/><Relationship Id="rId10" Type="http://schemas.openxmlformats.org/officeDocument/2006/relationships/image" Target="../media/image44.emf"/><Relationship Id="rId19" Type="http://schemas.openxmlformats.org/officeDocument/2006/relationships/image" Target="../media/image51.emf"/><Relationship Id="rId4" Type="http://schemas.openxmlformats.org/officeDocument/2006/relationships/image" Target="../media/image38.emf"/><Relationship Id="rId9" Type="http://schemas.openxmlformats.org/officeDocument/2006/relationships/image" Target="../media/image43.emf"/><Relationship Id="rId14" Type="http://schemas.openxmlformats.org/officeDocument/2006/relationships/image" Target="../media/image48.emf"/><Relationship Id="rId22" Type="http://schemas.openxmlformats.org/officeDocument/2006/relationships/image" Target="../media/image5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emf"/><Relationship Id="rId13" Type="http://schemas.openxmlformats.org/officeDocument/2006/relationships/image" Target="../media/image65.emf"/><Relationship Id="rId3" Type="http://schemas.openxmlformats.org/officeDocument/2006/relationships/image" Target="../media/image38.emf"/><Relationship Id="rId7" Type="http://schemas.openxmlformats.org/officeDocument/2006/relationships/image" Target="../media/image61.emf"/><Relationship Id="rId12" Type="http://schemas.openxmlformats.org/officeDocument/2006/relationships/image" Target="../media/image31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0.png"/><Relationship Id="rId11" Type="http://schemas.openxmlformats.org/officeDocument/2006/relationships/image" Target="../media/image30.emf"/><Relationship Id="rId5" Type="http://schemas.openxmlformats.org/officeDocument/2006/relationships/image" Target="../media/image59.emf"/><Relationship Id="rId15" Type="http://schemas.openxmlformats.org/officeDocument/2006/relationships/image" Target="../media/image67.emf"/><Relationship Id="rId10" Type="http://schemas.openxmlformats.org/officeDocument/2006/relationships/image" Target="../media/image64.emf"/><Relationship Id="rId4" Type="http://schemas.openxmlformats.org/officeDocument/2006/relationships/image" Target="../media/image58.emf"/><Relationship Id="rId9" Type="http://schemas.openxmlformats.org/officeDocument/2006/relationships/image" Target="../media/image63.emf"/><Relationship Id="rId14" Type="http://schemas.openxmlformats.org/officeDocument/2006/relationships/image" Target="../media/image66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13" Type="http://schemas.openxmlformats.org/officeDocument/2006/relationships/image" Target="../media/image77.emf"/><Relationship Id="rId18" Type="http://schemas.openxmlformats.org/officeDocument/2006/relationships/image" Target="../media/image80.emf"/><Relationship Id="rId3" Type="http://schemas.openxmlformats.org/officeDocument/2006/relationships/image" Target="../media/image68.emf"/><Relationship Id="rId7" Type="http://schemas.openxmlformats.org/officeDocument/2006/relationships/image" Target="../media/image71.emf"/><Relationship Id="rId12" Type="http://schemas.openxmlformats.org/officeDocument/2006/relationships/image" Target="../media/image76.emf"/><Relationship Id="rId17" Type="http://schemas.openxmlformats.org/officeDocument/2006/relationships/image" Target="../media/image79.emf"/><Relationship Id="rId2" Type="http://schemas.openxmlformats.org/officeDocument/2006/relationships/image" Target="../media/image12.png"/><Relationship Id="rId16" Type="http://schemas.openxmlformats.org/officeDocument/2006/relationships/image" Target="../media/image78.em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0.emf"/><Relationship Id="rId11" Type="http://schemas.openxmlformats.org/officeDocument/2006/relationships/image" Target="../media/image75.emf"/><Relationship Id="rId5" Type="http://schemas.openxmlformats.org/officeDocument/2006/relationships/image" Target="../media/image69.emf"/><Relationship Id="rId15" Type="http://schemas.openxmlformats.org/officeDocument/2006/relationships/image" Target="../media/image31.emf"/><Relationship Id="rId10" Type="http://schemas.openxmlformats.org/officeDocument/2006/relationships/image" Target="../media/image74.emf"/><Relationship Id="rId4" Type="http://schemas.openxmlformats.org/officeDocument/2006/relationships/image" Target="../media/image69.png"/><Relationship Id="rId9" Type="http://schemas.openxmlformats.org/officeDocument/2006/relationships/image" Target="../media/image73.emf"/><Relationship Id="rId14" Type="http://schemas.openxmlformats.org/officeDocument/2006/relationships/image" Target="../media/image30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emf"/><Relationship Id="rId13" Type="http://schemas.openxmlformats.org/officeDocument/2006/relationships/image" Target="../media/image88.emf"/><Relationship Id="rId3" Type="http://schemas.openxmlformats.org/officeDocument/2006/relationships/image" Target="../media/image12.png"/><Relationship Id="rId7" Type="http://schemas.openxmlformats.org/officeDocument/2006/relationships/image" Target="../media/image84.emf"/><Relationship Id="rId12" Type="http://schemas.openxmlformats.org/officeDocument/2006/relationships/image" Target="../media/image31.emf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3.emf"/><Relationship Id="rId11" Type="http://schemas.openxmlformats.org/officeDocument/2006/relationships/image" Target="../media/image30.emf"/><Relationship Id="rId5" Type="http://schemas.openxmlformats.org/officeDocument/2006/relationships/image" Target="../media/image82.emf"/><Relationship Id="rId10" Type="http://schemas.openxmlformats.org/officeDocument/2006/relationships/image" Target="../media/image87.emf"/><Relationship Id="rId4" Type="http://schemas.openxmlformats.org/officeDocument/2006/relationships/image" Target="../media/image81.emf"/><Relationship Id="rId9" Type="http://schemas.openxmlformats.org/officeDocument/2006/relationships/image" Target="../media/image86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emf"/><Relationship Id="rId3" Type="http://schemas.openxmlformats.org/officeDocument/2006/relationships/image" Target="../media/image89.emf"/><Relationship Id="rId7" Type="http://schemas.openxmlformats.org/officeDocument/2006/relationships/image" Target="../media/image9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2.emf"/><Relationship Id="rId5" Type="http://schemas.openxmlformats.org/officeDocument/2006/relationships/image" Target="../media/image91.emf"/><Relationship Id="rId4" Type="http://schemas.openxmlformats.org/officeDocument/2006/relationships/image" Target="../media/image90.emf"/><Relationship Id="rId9" Type="http://schemas.openxmlformats.org/officeDocument/2006/relationships/image" Target="../media/image9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9.emf"/><Relationship Id="rId5" Type="http://schemas.openxmlformats.org/officeDocument/2006/relationships/image" Target="../media/image98.emf"/><Relationship Id="rId4" Type="http://schemas.openxmlformats.org/officeDocument/2006/relationships/image" Target="../media/image97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emf"/><Relationship Id="rId3" Type="http://schemas.openxmlformats.org/officeDocument/2006/relationships/image" Target="../media/image100.emf"/><Relationship Id="rId7" Type="http://schemas.openxmlformats.org/officeDocument/2006/relationships/image" Target="../media/image10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2.emf"/><Relationship Id="rId5" Type="http://schemas.openxmlformats.org/officeDocument/2006/relationships/image" Target="../media/image101.emf"/><Relationship Id="rId4" Type="http://schemas.openxmlformats.org/officeDocument/2006/relationships/image" Target="../media/image81.emf"/><Relationship Id="rId9" Type="http://schemas.openxmlformats.org/officeDocument/2006/relationships/image" Target="../media/image105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emf"/><Relationship Id="rId13" Type="http://schemas.openxmlformats.org/officeDocument/2006/relationships/image" Target="../media/image112.emf"/><Relationship Id="rId18" Type="http://schemas.openxmlformats.org/officeDocument/2006/relationships/image" Target="../media/image116.emf"/><Relationship Id="rId3" Type="http://schemas.openxmlformats.org/officeDocument/2006/relationships/image" Target="../media/image12.png"/><Relationship Id="rId21" Type="http://schemas.openxmlformats.org/officeDocument/2006/relationships/image" Target="../media/image119.emf"/><Relationship Id="rId7" Type="http://schemas.openxmlformats.org/officeDocument/2006/relationships/image" Target="../media/image106.emf"/><Relationship Id="rId12" Type="http://schemas.openxmlformats.org/officeDocument/2006/relationships/image" Target="../media/image111.emf"/><Relationship Id="rId17" Type="http://schemas.openxmlformats.org/officeDocument/2006/relationships/image" Target="../media/image60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15.emf"/><Relationship Id="rId20" Type="http://schemas.openxmlformats.org/officeDocument/2006/relationships/image" Target="../media/image118.em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3.emf"/><Relationship Id="rId11" Type="http://schemas.openxmlformats.org/officeDocument/2006/relationships/image" Target="../media/image110.emf"/><Relationship Id="rId5" Type="http://schemas.openxmlformats.org/officeDocument/2006/relationships/image" Target="../media/image42.emf"/><Relationship Id="rId15" Type="http://schemas.openxmlformats.org/officeDocument/2006/relationships/image" Target="../media/image114.emf"/><Relationship Id="rId10" Type="http://schemas.openxmlformats.org/officeDocument/2006/relationships/image" Target="../media/image109.emf"/><Relationship Id="rId19" Type="http://schemas.openxmlformats.org/officeDocument/2006/relationships/image" Target="../media/image117.emf"/><Relationship Id="rId4" Type="http://schemas.openxmlformats.org/officeDocument/2006/relationships/image" Target="../media/image40.emf"/><Relationship Id="rId9" Type="http://schemas.openxmlformats.org/officeDocument/2006/relationships/image" Target="../media/image108.emf"/><Relationship Id="rId14" Type="http://schemas.openxmlformats.org/officeDocument/2006/relationships/image" Target="../media/image113.emf"/><Relationship Id="rId22" Type="http://schemas.openxmlformats.org/officeDocument/2006/relationships/image" Target="../media/image120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13" Type="http://schemas.openxmlformats.org/officeDocument/2006/relationships/image" Target="../media/image130.pn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12" Type="http://schemas.openxmlformats.org/officeDocument/2006/relationships/customXml" Target="../ink/ink3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4.emf"/><Relationship Id="rId11" Type="http://schemas.openxmlformats.org/officeDocument/2006/relationships/image" Target="../media/image129.png"/><Relationship Id="rId5" Type="http://schemas.openxmlformats.org/officeDocument/2006/relationships/image" Target="../media/image123.emf"/><Relationship Id="rId10" Type="http://schemas.openxmlformats.org/officeDocument/2006/relationships/customXml" Target="../ink/ink2.xml"/><Relationship Id="rId4" Type="http://schemas.openxmlformats.org/officeDocument/2006/relationships/image" Target="../media/image122.emf"/><Relationship Id="rId9" Type="http://schemas.openxmlformats.org/officeDocument/2006/relationships/image" Target="../media/image12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emf"/><Relationship Id="rId13" Type="http://schemas.openxmlformats.org/officeDocument/2006/relationships/image" Target="../media/image136.emf"/><Relationship Id="rId3" Type="http://schemas.openxmlformats.org/officeDocument/2006/relationships/image" Target="../media/image126.emf"/><Relationship Id="rId7" Type="http://schemas.openxmlformats.org/officeDocument/2006/relationships/image" Target="../media/image130.emf"/><Relationship Id="rId12" Type="http://schemas.openxmlformats.org/officeDocument/2006/relationships/image" Target="../media/image135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9.emf"/><Relationship Id="rId11" Type="http://schemas.openxmlformats.org/officeDocument/2006/relationships/image" Target="../media/image134.emf"/><Relationship Id="rId5" Type="http://schemas.openxmlformats.org/officeDocument/2006/relationships/image" Target="../media/image128.emf"/><Relationship Id="rId10" Type="http://schemas.openxmlformats.org/officeDocument/2006/relationships/image" Target="../media/image133.emf"/><Relationship Id="rId4" Type="http://schemas.openxmlformats.org/officeDocument/2006/relationships/image" Target="../media/image127.emf"/><Relationship Id="rId9" Type="http://schemas.openxmlformats.org/officeDocument/2006/relationships/image" Target="../media/image132.emf"/><Relationship Id="rId14" Type="http://schemas.openxmlformats.org/officeDocument/2006/relationships/image" Target="../media/image13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emf"/><Relationship Id="rId13" Type="http://schemas.openxmlformats.org/officeDocument/2006/relationships/image" Target="../media/image151.emf"/><Relationship Id="rId18" Type="http://schemas.openxmlformats.org/officeDocument/2006/relationships/image" Target="../media/image155.emf"/><Relationship Id="rId3" Type="http://schemas.openxmlformats.org/officeDocument/2006/relationships/image" Target="../media/image143.emf"/><Relationship Id="rId7" Type="http://schemas.openxmlformats.org/officeDocument/2006/relationships/image" Target="../media/image147.emf"/><Relationship Id="rId12" Type="http://schemas.openxmlformats.org/officeDocument/2006/relationships/image" Target="../media/image32.emf"/><Relationship Id="rId17" Type="http://schemas.openxmlformats.org/officeDocument/2006/relationships/image" Target="../media/image12.png"/><Relationship Id="rId2" Type="http://schemas.openxmlformats.org/officeDocument/2006/relationships/image" Target="../media/image142.emf"/><Relationship Id="rId16" Type="http://schemas.openxmlformats.org/officeDocument/2006/relationships/image" Target="../media/image15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6.emf"/><Relationship Id="rId11" Type="http://schemas.openxmlformats.org/officeDocument/2006/relationships/image" Target="../media/image30.emf"/><Relationship Id="rId5" Type="http://schemas.openxmlformats.org/officeDocument/2006/relationships/image" Target="../media/image145.emf"/><Relationship Id="rId15" Type="http://schemas.openxmlformats.org/officeDocument/2006/relationships/image" Target="../media/image153.emf"/><Relationship Id="rId10" Type="http://schemas.openxmlformats.org/officeDocument/2006/relationships/image" Target="../media/image150.emf"/><Relationship Id="rId4" Type="http://schemas.openxmlformats.org/officeDocument/2006/relationships/image" Target="../media/image144.emf"/><Relationship Id="rId9" Type="http://schemas.openxmlformats.org/officeDocument/2006/relationships/image" Target="../media/image149.emf"/><Relationship Id="rId14" Type="http://schemas.openxmlformats.org/officeDocument/2006/relationships/image" Target="../media/image152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emf"/><Relationship Id="rId13" Type="http://schemas.openxmlformats.org/officeDocument/2006/relationships/image" Target="../media/image164.emf"/><Relationship Id="rId3" Type="http://schemas.openxmlformats.org/officeDocument/2006/relationships/image" Target="../media/image156.emf"/><Relationship Id="rId7" Type="http://schemas.openxmlformats.org/officeDocument/2006/relationships/image" Target="../media/image160.png"/><Relationship Id="rId12" Type="http://schemas.openxmlformats.org/officeDocument/2006/relationships/image" Target="../media/image16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9.emf"/><Relationship Id="rId11" Type="http://schemas.openxmlformats.org/officeDocument/2006/relationships/image" Target="../media/image32.emf"/><Relationship Id="rId5" Type="http://schemas.openxmlformats.org/officeDocument/2006/relationships/image" Target="../media/image158.emf"/><Relationship Id="rId10" Type="http://schemas.openxmlformats.org/officeDocument/2006/relationships/image" Target="../media/image30.emf"/><Relationship Id="rId4" Type="http://schemas.openxmlformats.org/officeDocument/2006/relationships/image" Target="../media/image157.emf"/><Relationship Id="rId9" Type="http://schemas.openxmlformats.org/officeDocument/2006/relationships/image" Target="../media/image162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6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emf"/><Relationship Id="rId13" Type="http://schemas.openxmlformats.org/officeDocument/2006/relationships/image" Target="../media/image179.emf"/><Relationship Id="rId18" Type="http://schemas.openxmlformats.org/officeDocument/2006/relationships/image" Target="../media/image184.emf"/><Relationship Id="rId3" Type="http://schemas.openxmlformats.org/officeDocument/2006/relationships/image" Target="../media/image169.emf"/><Relationship Id="rId7" Type="http://schemas.openxmlformats.org/officeDocument/2006/relationships/image" Target="../media/image173.emf"/><Relationship Id="rId12" Type="http://schemas.openxmlformats.org/officeDocument/2006/relationships/image" Target="../media/image178.emf"/><Relationship Id="rId17" Type="http://schemas.openxmlformats.org/officeDocument/2006/relationships/image" Target="../media/image183.emf"/><Relationship Id="rId2" Type="http://schemas.openxmlformats.org/officeDocument/2006/relationships/image" Target="../media/image12.png"/><Relationship Id="rId16" Type="http://schemas.openxmlformats.org/officeDocument/2006/relationships/image" Target="../media/image182.emf"/><Relationship Id="rId20" Type="http://schemas.openxmlformats.org/officeDocument/2006/relationships/image" Target="../media/image186.em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2.emf"/><Relationship Id="rId11" Type="http://schemas.openxmlformats.org/officeDocument/2006/relationships/image" Target="../media/image177.emf"/><Relationship Id="rId5" Type="http://schemas.openxmlformats.org/officeDocument/2006/relationships/image" Target="../media/image171.emf"/><Relationship Id="rId15" Type="http://schemas.openxmlformats.org/officeDocument/2006/relationships/image" Target="../media/image181.emf"/><Relationship Id="rId10" Type="http://schemas.openxmlformats.org/officeDocument/2006/relationships/image" Target="../media/image176.emf"/><Relationship Id="rId19" Type="http://schemas.openxmlformats.org/officeDocument/2006/relationships/image" Target="../media/image185.emf"/><Relationship Id="rId4" Type="http://schemas.openxmlformats.org/officeDocument/2006/relationships/image" Target="../media/image170.emf"/><Relationship Id="rId9" Type="http://schemas.openxmlformats.org/officeDocument/2006/relationships/image" Target="../media/image175.emf"/><Relationship Id="rId14" Type="http://schemas.openxmlformats.org/officeDocument/2006/relationships/image" Target="../media/image18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emf"/><Relationship Id="rId7" Type="http://schemas.openxmlformats.org/officeDocument/2006/relationships/image" Target="../media/image191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0.emf"/><Relationship Id="rId5" Type="http://schemas.openxmlformats.org/officeDocument/2006/relationships/image" Target="../media/image189.emf"/><Relationship Id="rId4" Type="http://schemas.openxmlformats.org/officeDocument/2006/relationships/image" Target="../media/image188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94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3.png"/><Relationship Id="rId7" Type="http://schemas.openxmlformats.org/officeDocument/2006/relationships/image" Target="../media/image16.tiff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2.png"/><Relationship Id="rId9" Type="http://schemas.openxmlformats.org/officeDocument/2006/relationships/image" Target="../media/image18.svg"/><Relationship Id="rId14" Type="http://schemas.openxmlformats.org/officeDocument/2006/relationships/image" Target="../media/image23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1.emf"/><Relationship Id="rId3" Type="http://schemas.openxmlformats.org/officeDocument/2006/relationships/image" Target="../media/image196.emf"/><Relationship Id="rId7" Type="http://schemas.openxmlformats.org/officeDocument/2006/relationships/image" Target="../media/image200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9.emf"/><Relationship Id="rId5" Type="http://schemas.openxmlformats.org/officeDocument/2006/relationships/image" Target="../media/image198.emf"/><Relationship Id="rId10" Type="http://schemas.openxmlformats.org/officeDocument/2006/relationships/image" Target="../media/image203.png"/><Relationship Id="rId4" Type="http://schemas.openxmlformats.org/officeDocument/2006/relationships/image" Target="../media/image197.emf"/><Relationship Id="rId9" Type="http://schemas.openxmlformats.org/officeDocument/2006/relationships/image" Target="../media/image202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9.emf"/><Relationship Id="rId13" Type="http://schemas.openxmlformats.org/officeDocument/2006/relationships/image" Target="../media/image214.emf"/><Relationship Id="rId3" Type="http://schemas.openxmlformats.org/officeDocument/2006/relationships/image" Target="../media/image205.emf"/><Relationship Id="rId7" Type="http://schemas.openxmlformats.org/officeDocument/2006/relationships/image" Target="../media/image12.png"/><Relationship Id="rId12" Type="http://schemas.openxmlformats.org/officeDocument/2006/relationships/image" Target="../media/image213.emf"/><Relationship Id="rId2" Type="http://schemas.openxmlformats.org/officeDocument/2006/relationships/image" Target="../media/image204.em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8.emf"/><Relationship Id="rId11" Type="http://schemas.openxmlformats.org/officeDocument/2006/relationships/image" Target="../media/image212.emf"/><Relationship Id="rId5" Type="http://schemas.openxmlformats.org/officeDocument/2006/relationships/image" Target="../media/image207.emf"/><Relationship Id="rId10" Type="http://schemas.openxmlformats.org/officeDocument/2006/relationships/image" Target="../media/image211.emf"/><Relationship Id="rId4" Type="http://schemas.openxmlformats.org/officeDocument/2006/relationships/image" Target="../media/image206.emf"/><Relationship Id="rId9" Type="http://schemas.openxmlformats.org/officeDocument/2006/relationships/image" Target="../media/image210.png"/><Relationship Id="rId14" Type="http://schemas.openxmlformats.org/officeDocument/2006/relationships/image" Target="../media/image215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18.emf"/><Relationship Id="rId4" Type="http://schemas.openxmlformats.org/officeDocument/2006/relationships/image" Target="../media/image217.emf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4.emf"/><Relationship Id="rId3" Type="http://schemas.openxmlformats.org/officeDocument/2006/relationships/image" Target="../media/image219.emf"/><Relationship Id="rId7" Type="http://schemas.openxmlformats.org/officeDocument/2006/relationships/image" Target="../media/image22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22.emf"/><Relationship Id="rId5" Type="http://schemas.openxmlformats.org/officeDocument/2006/relationships/image" Target="../media/image221.emf"/><Relationship Id="rId10" Type="http://schemas.openxmlformats.org/officeDocument/2006/relationships/image" Target="../media/image210.png"/><Relationship Id="rId4" Type="http://schemas.openxmlformats.org/officeDocument/2006/relationships/image" Target="../media/image220.emf"/><Relationship Id="rId9" Type="http://schemas.openxmlformats.org/officeDocument/2006/relationships/image" Target="../media/image225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27.emf"/></Relationships>
</file>

<file path=ppt/slides/_rels/slide4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1.png"/><Relationship Id="rId18" Type="http://schemas.openxmlformats.org/officeDocument/2006/relationships/customXml" Target="../ink/ink7.xml"/><Relationship Id="rId3" Type="http://schemas.openxmlformats.org/officeDocument/2006/relationships/customXml" Target="../ink/ink4.xml"/><Relationship Id="rId21" Type="http://schemas.openxmlformats.org/officeDocument/2006/relationships/image" Target="../media/image85.png"/><Relationship Id="rId17" Type="http://schemas.openxmlformats.org/officeDocument/2006/relationships/image" Target="../media/image83.png"/><Relationship Id="rId2" Type="http://schemas.openxmlformats.org/officeDocument/2006/relationships/image" Target="../media/image12.png"/><Relationship Id="rId16" Type="http://schemas.openxmlformats.org/officeDocument/2006/relationships/customXml" Target="../ink/ink6.xml"/><Relationship Id="rId20" Type="http://schemas.openxmlformats.org/officeDocument/2006/relationships/customXml" Target="../ink/ink8.xml"/><Relationship Id="rId1" Type="http://schemas.openxmlformats.org/officeDocument/2006/relationships/slideLayout" Target="../slideLayouts/slideLayout15.xml"/><Relationship Id="rId15" Type="http://schemas.openxmlformats.org/officeDocument/2006/relationships/image" Target="../media/image820.png"/><Relationship Id="rId19" Type="http://schemas.openxmlformats.org/officeDocument/2006/relationships/image" Target="../media/image84.png"/><Relationship Id="rId14" Type="http://schemas.openxmlformats.org/officeDocument/2006/relationships/customXml" Target="../ink/ink5.xml"/><Relationship Id="rId22" Type="http://schemas.openxmlformats.org/officeDocument/2006/relationships/image" Target="../media/image228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13" Type="http://schemas.openxmlformats.org/officeDocument/2006/relationships/customXml" Target="../ink/ink13.xml"/><Relationship Id="rId3" Type="http://schemas.openxmlformats.org/officeDocument/2006/relationships/image" Target="../media/image229.emf"/><Relationship Id="rId7" Type="http://schemas.openxmlformats.org/officeDocument/2006/relationships/customXml" Target="../ink/ink10.xml"/><Relationship Id="rId12" Type="http://schemas.openxmlformats.org/officeDocument/2006/relationships/image" Target="../media/image9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8.png"/><Relationship Id="rId11" Type="http://schemas.openxmlformats.org/officeDocument/2006/relationships/customXml" Target="../ink/ink12.xml"/><Relationship Id="rId15" Type="http://schemas.openxmlformats.org/officeDocument/2006/relationships/image" Target="../media/image230.emf"/><Relationship Id="rId10" Type="http://schemas.openxmlformats.org/officeDocument/2006/relationships/image" Target="../media/image90.png"/><Relationship Id="rId4" Type="http://schemas.openxmlformats.org/officeDocument/2006/relationships/customXml" Target="../ink/ink9.xml"/><Relationship Id="rId9" Type="http://schemas.openxmlformats.org/officeDocument/2006/relationships/customXml" Target="../ink/ink11.xml"/><Relationship Id="rId14" Type="http://schemas.openxmlformats.org/officeDocument/2006/relationships/image" Target="../media/image9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13" Type="http://schemas.openxmlformats.org/officeDocument/2006/relationships/image" Target="../media/image37.emf"/><Relationship Id="rId3" Type="http://schemas.openxmlformats.org/officeDocument/2006/relationships/image" Target="../media/image28.png"/><Relationship Id="rId7" Type="http://schemas.openxmlformats.org/officeDocument/2006/relationships/image" Target="../media/image31.emf"/><Relationship Id="rId12" Type="http://schemas.openxmlformats.org/officeDocument/2006/relationships/image" Target="../media/image3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emf"/><Relationship Id="rId11" Type="http://schemas.openxmlformats.org/officeDocument/2006/relationships/image" Target="../media/image35.emf"/><Relationship Id="rId5" Type="http://schemas.openxmlformats.org/officeDocument/2006/relationships/image" Target="../media/image12.png"/><Relationship Id="rId10" Type="http://schemas.openxmlformats.org/officeDocument/2006/relationships/image" Target="../media/image34.emf"/><Relationship Id="rId4" Type="http://schemas.openxmlformats.org/officeDocument/2006/relationships/image" Target="../media/image29.png"/><Relationship Id="rId9" Type="http://schemas.openxmlformats.org/officeDocument/2006/relationships/image" Target="../media/image33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2.emf"/><Relationship Id="rId13" Type="http://schemas.openxmlformats.org/officeDocument/2006/relationships/image" Target="../media/image237.png"/><Relationship Id="rId3" Type="http://schemas.openxmlformats.org/officeDocument/2006/relationships/image" Target="../media/image12.png"/><Relationship Id="rId7" Type="http://schemas.openxmlformats.org/officeDocument/2006/relationships/image" Target="../media/image231.emf"/><Relationship Id="rId12" Type="http://schemas.openxmlformats.org/officeDocument/2006/relationships/image" Target="../media/image236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8.png"/><Relationship Id="rId11" Type="http://schemas.openxmlformats.org/officeDocument/2006/relationships/image" Target="../media/image235.emf"/><Relationship Id="rId15" Type="http://schemas.openxmlformats.org/officeDocument/2006/relationships/image" Target="../media/image239.png"/><Relationship Id="rId10" Type="http://schemas.openxmlformats.org/officeDocument/2006/relationships/image" Target="../media/image234.emf"/><Relationship Id="rId4" Type="http://schemas.openxmlformats.org/officeDocument/2006/relationships/customXml" Target="../ink/ink14.xml"/><Relationship Id="rId9" Type="http://schemas.openxmlformats.org/officeDocument/2006/relationships/image" Target="../media/image233.emf"/><Relationship Id="rId14" Type="http://schemas.openxmlformats.org/officeDocument/2006/relationships/image" Target="../media/image238.emf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1.emf"/><Relationship Id="rId13" Type="http://schemas.openxmlformats.org/officeDocument/2006/relationships/image" Target="../media/image246.emf"/><Relationship Id="rId3" Type="http://schemas.openxmlformats.org/officeDocument/2006/relationships/image" Target="../media/image12.png"/><Relationship Id="rId7" Type="http://schemas.openxmlformats.org/officeDocument/2006/relationships/image" Target="../media/image240.emf"/><Relationship Id="rId12" Type="http://schemas.openxmlformats.org/officeDocument/2006/relationships/image" Target="../media/image245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8.png"/><Relationship Id="rId11" Type="http://schemas.openxmlformats.org/officeDocument/2006/relationships/image" Target="../media/image244.emf"/><Relationship Id="rId10" Type="http://schemas.openxmlformats.org/officeDocument/2006/relationships/image" Target="../media/image243.png"/><Relationship Id="rId4" Type="http://schemas.openxmlformats.org/officeDocument/2006/relationships/customXml" Target="../ink/ink15.xml"/><Relationship Id="rId9" Type="http://schemas.openxmlformats.org/officeDocument/2006/relationships/image" Target="../media/image242.emf"/><Relationship Id="rId14" Type="http://schemas.openxmlformats.org/officeDocument/2006/relationships/image" Target="../media/image247.emf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2.emf"/><Relationship Id="rId3" Type="http://schemas.openxmlformats.org/officeDocument/2006/relationships/image" Target="../media/image12.png"/><Relationship Id="rId7" Type="http://schemas.openxmlformats.org/officeDocument/2006/relationships/image" Target="../media/image251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0.emf"/><Relationship Id="rId5" Type="http://schemas.openxmlformats.org/officeDocument/2006/relationships/image" Target="../media/image249.emf"/><Relationship Id="rId4" Type="http://schemas.openxmlformats.org/officeDocument/2006/relationships/image" Target="../media/image248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5.png"/><Relationship Id="rId5" Type="http://schemas.openxmlformats.org/officeDocument/2006/relationships/image" Target="../media/image254.png"/><Relationship Id="rId4" Type="http://schemas.openxmlformats.org/officeDocument/2006/relationships/image" Target="../media/image253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56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5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9.png"/><Relationship Id="rId4" Type="http://schemas.openxmlformats.org/officeDocument/2006/relationships/image" Target="../media/image258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6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931F81-BCF3-4549-812A-FD1247177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598516"/>
            <a:ext cx="10208027" cy="1730156"/>
          </a:xfrm>
        </p:spPr>
        <p:txBody>
          <a:bodyPr>
            <a:normAutofit/>
          </a:bodyPr>
          <a:lstStyle/>
          <a:p>
            <a:r>
              <a:rPr lang="fr-FR" dirty="0"/>
              <a:t>PhD </a:t>
            </a:r>
            <a:r>
              <a:rPr lang="fr-FR" dirty="0" err="1"/>
              <a:t>Defense</a:t>
            </a:r>
            <a:r>
              <a:rPr lang="fr-FR" dirty="0"/>
              <a:t>:</a:t>
            </a:r>
            <a:br>
              <a:rPr lang="fr-FR" dirty="0"/>
            </a:br>
            <a:r>
              <a:rPr lang="fr-FR" dirty="0" err="1"/>
              <a:t>Statistical</a:t>
            </a:r>
            <a:r>
              <a:rPr lang="fr-FR" dirty="0"/>
              <a:t> </a:t>
            </a:r>
            <a:r>
              <a:rPr lang="fr-FR" dirty="0" err="1"/>
              <a:t>Understanding</a:t>
            </a:r>
            <a:r>
              <a:rPr lang="fr-FR" dirty="0"/>
              <a:t> of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Robustness</a:t>
            </a:r>
            <a:br>
              <a:rPr lang="fr-FR" dirty="0"/>
            </a:br>
            <a:endParaRPr lang="fr-FR" dirty="0"/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396D979A-6BAA-7B45-9DE6-07D5B3F1FF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3" name="Titre 1">
            <a:extLst>
              <a:ext uri="{FF2B5EF4-FFF2-40B4-BE49-F238E27FC236}">
                <a16:creationId xmlns:a16="http://schemas.microsoft.com/office/drawing/2014/main" id="{C8ADE806-DFBC-3241-9B9B-DB911C9663BC}"/>
              </a:ext>
            </a:extLst>
          </p:cNvPr>
          <p:cNvSpPr txBox="1">
            <a:spLocks/>
          </p:cNvSpPr>
          <p:nvPr/>
        </p:nvSpPr>
        <p:spPr>
          <a:xfrm>
            <a:off x="991986" y="2285565"/>
            <a:ext cx="10208027" cy="412742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Hurme Geometric Sans 4 Bold" panose="020B0A00020000000000" pitchFamily="34" charset="0"/>
                <a:ea typeface="+mj-ea"/>
                <a:cs typeface="+mj-cs"/>
              </a:defRPr>
            </a:lvl1pPr>
          </a:lstStyle>
          <a:p>
            <a:pPr algn="l">
              <a:spcAft>
                <a:spcPts val="1200"/>
              </a:spcAft>
            </a:pPr>
            <a:r>
              <a:rPr lang="fr-FR" sz="2800" dirty="0">
                <a:solidFill>
                  <a:schemeClr val="tx1"/>
                </a:solidFill>
              </a:rPr>
              <a:t>Morgane </a:t>
            </a:r>
            <a:r>
              <a:rPr lang="fr-FR" sz="2800" dirty="0" err="1">
                <a:solidFill>
                  <a:schemeClr val="tx1"/>
                </a:solidFill>
              </a:rPr>
              <a:t>Goibert</a:t>
            </a:r>
            <a:endParaRPr lang="fr-FR" sz="2800" dirty="0">
              <a:solidFill>
                <a:schemeClr val="tx1"/>
              </a:solidFill>
            </a:endParaRPr>
          </a:p>
          <a:p>
            <a:pPr algn="l"/>
            <a:endParaRPr lang="fr-FR" sz="2000" b="0" dirty="0">
              <a:solidFill>
                <a:schemeClr val="tx1"/>
              </a:solidFill>
            </a:endParaRPr>
          </a:p>
          <a:p>
            <a:pPr algn="l"/>
            <a:endParaRPr lang="fr-FR" sz="2000" b="0" dirty="0">
              <a:solidFill>
                <a:schemeClr val="tx1"/>
              </a:solidFill>
            </a:endParaRPr>
          </a:p>
          <a:p>
            <a:pPr algn="l"/>
            <a:endParaRPr lang="fr-FR" sz="2000" b="0" dirty="0">
              <a:solidFill>
                <a:schemeClr val="tx1"/>
              </a:solidFill>
            </a:endParaRPr>
          </a:p>
          <a:p>
            <a:pPr algn="l">
              <a:lnSpc>
                <a:spcPct val="100000"/>
              </a:lnSpc>
              <a:spcAft>
                <a:spcPts val="600"/>
              </a:spcAft>
            </a:pPr>
            <a:r>
              <a:rPr lang="fr-FR" sz="2000" dirty="0" err="1">
                <a:solidFill>
                  <a:schemeClr val="tx1"/>
                </a:solidFill>
              </a:rPr>
              <a:t>Supervisors</a:t>
            </a:r>
            <a:r>
              <a:rPr lang="fr-FR" sz="2000" dirty="0">
                <a:solidFill>
                  <a:schemeClr val="tx1"/>
                </a:solidFill>
              </a:rPr>
              <a:t>: </a:t>
            </a:r>
            <a:r>
              <a:rPr lang="fr-FR" sz="2000" b="0" dirty="0">
                <a:solidFill>
                  <a:schemeClr val="tx1"/>
                </a:solidFill>
              </a:rPr>
              <a:t>Stéphan </a:t>
            </a:r>
            <a:r>
              <a:rPr lang="fr-FR" sz="2000" b="0" dirty="0" err="1">
                <a:solidFill>
                  <a:schemeClr val="tx1"/>
                </a:solidFill>
              </a:rPr>
              <a:t>Clémençon</a:t>
            </a:r>
            <a:r>
              <a:rPr lang="fr-FR" sz="2000" b="0" dirty="0">
                <a:solidFill>
                  <a:schemeClr val="tx1"/>
                </a:solidFill>
              </a:rPr>
              <a:t>, Clément </a:t>
            </a:r>
            <a:r>
              <a:rPr lang="fr-FR" sz="2000" b="0" dirty="0" err="1">
                <a:solidFill>
                  <a:schemeClr val="tx1"/>
                </a:solidFill>
              </a:rPr>
              <a:t>Calauzènes</a:t>
            </a:r>
            <a:r>
              <a:rPr lang="fr-FR" sz="2000" b="0" dirty="0">
                <a:solidFill>
                  <a:schemeClr val="tx1"/>
                </a:solidFill>
              </a:rPr>
              <a:t>, Elvis </a:t>
            </a:r>
            <a:r>
              <a:rPr lang="fr-FR" sz="2000" b="0" dirty="0" err="1">
                <a:solidFill>
                  <a:schemeClr val="tx1"/>
                </a:solidFill>
              </a:rPr>
              <a:t>Dohmatob</a:t>
            </a:r>
            <a:r>
              <a:rPr lang="fr-FR" sz="2000" b="0" dirty="0">
                <a:solidFill>
                  <a:schemeClr val="tx1"/>
                </a:solidFill>
              </a:rPr>
              <a:t> and </a:t>
            </a:r>
            <a:r>
              <a:rPr lang="fr-FR" sz="2000" b="0" dirty="0" err="1">
                <a:solidFill>
                  <a:schemeClr val="tx1"/>
                </a:solidFill>
              </a:rPr>
              <a:t>Ekhine</a:t>
            </a:r>
            <a:r>
              <a:rPr lang="fr-FR" sz="2000" b="0" dirty="0">
                <a:solidFill>
                  <a:schemeClr val="tx1"/>
                </a:solidFill>
              </a:rPr>
              <a:t> </a:t>
            </a:r>
            <a:r>
              <a:rPr lang="fr-FR" sz="2000" b="0" dirty="0" err="1">
                <a:solidFill>
                  <a:schemeClr val="tx1"/>
                </a:solidFill>
              </a:rPr>
              <a:t>Irurozki</a:t>
            </a:r>
            <a:r>
              <a:rPr lang="fr-FR" sz="2000" b="0" dirty="0">
                <a:solidFill>
                  <a:schemeClr val="tx1"/>
                </a:solidFill>
              </a:rPr>
              <a:t> </a:t>
            </a:r>
          </a:p>
          <a:p>
            <a:pPr algn="l">
              <a:lnSpc>
                <a:spcPct val="100000"/>
              </a:lnSpc>
              <a:spcAft>
                <a:spcPts val="600"/>
              </a:spcAft>
            </a:pPr>
            <a:r>
              <a:rPr lang="fr-FR" sz="2000" dirty="0">
                <a:solidFill>
                  <a:schemeClr val="tx1"/>
                </a:solidFill>
              </a:rPr>
              <a:t>Institutes: </a:t>
            </a:r>
            <a:r>
              <a:rPr lang="fr-FR" sz="2000" b="0" dirty="0">
                <a:solidFill>
                  <a:schemeClr val="tx1"/>
                </a:solidFill>
              </a:rPr>
              <a:t>Télécom Paris and </a:t>
            </a:r>
            <a:r>
              <a:rPr lang="fr-FR" sz="2000" b="0" dirty="0" err="1">
                <a:solidFill>
                  <a:schemeClr val="tx1"/>
                </a:solidFill>
              </a:rPr>
              <a:t>Criteo</a:t>
            </a:r>
            <a:endParaRPr lang="fr-FR" sz="2000" b="0" dirty="0">
              <a:solidFill>
                <a:schemeClr val="tx1"/>
              </a:solidFill>
            </a:endParaRPr>
          </a:p>
          <a:p>
            <a:pPr algn="l">
              <a:lnSpc>
                <a:spcPct val="100000"/>
              </a:lnSpc>
              <a:spcAft>
                <a:spcPts val="600"/>
              </a:spcAft>
            </a:pPr>
            <a:endParaRPr lang="fr-FR" sz="2000" b="0" dirty="0">
              <a:solidFill>
                <a:schemeClr val="tx1"/>
              </a:solidFill>
            </a:endParaRPr>
          </a:p>
          <a:p>
            <a:pPr algn="l">
              <a:lnSpc>
                <a:spcPct val="100000"/>
              </a:lnSpc>
              <a:spcAft>
                <a:spcPts val="600"/>
              </a:spcAft>
            </a:pPr>
            <a:r>
              <a:rPr lang="fr-FR" sz="2000" b="0" dirty="0" err="1">
                <a:solidFill>
                  <a:schemeClr val="tx1"/>
                </a:solidFill>
              </a:rPr>
              <a:t>November</a:t>
            </a:r>
            <a:r>
              <a:rPr lang="fr-FR" sz="2000" b="0" dirty="0">
                <a:solidFill>
                  <a:schemeClr val="tx1"/>
                </a:solidFill>
              </a:rPr>
              <a:t>, 30th 2023</a:t>
            </a:r>
          </a:p>
        </p:txBody>
      </p:sp>
    </p:spTree>
    <p:extLst>
      <p:ext uri="{BB962C8B-B14F-4D97-AF65-F5344CB8AC3E}">
        <p14:creationId xmlns:p14="http://schemas.microsoft.com/office/powerpoint/2010/main" val="1406672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Introduction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Ranking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Tableau 3">
                <a:extLst>
                  <a:ext uri="{FF2B5EF4-FFF2-40B4-BE49-F238E27FC236}">
                    <a16:creationId xmlns:a16="http://schemas.microsoft.com/office/drawing/2014/main" id="{150463A2-A286-4DFF-C867-7AA51814169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20220460"/>
                  </p:ext>
                </p:extLst>
              </p:nvPr>
            </p:nvGraphicFramePr>
            <p:xfrm>
              <a:off x="9010352" y="2475718"/>
              <a:ext cx="1626362" cy="1478280"/>
            </p:xfrm>
            <a:graphic>
              <a:graphicData uri="http://schemas.openxmlformats.org/drawingml/2006/table">
                <a:tbl>
                  <a:tblPr firstRow="1" bandRow="1">
                    <a:tableStyleId>{F2DE63D5-997A-4646-A377-4702673A728D}</a:tableStyleId>
                  </a:tblPr>
                  <a:tblGrid>
                    <a:gridCol w="455930">
                      <a:extLst>
                        <a:ext uri="{9D8B030D-6E8A-4147-A177-3AD203B41FA5}">
                          <a16:colId xmlns:a16="http://schemas.microsoft.com/office/drawing/2014/main" val="2175429142"/>
                        </a:ext>
                      </a:extLst>
                    </a:gridCol>
                    <a:gridCol w="1170432">
                      <a:extLst>
                        <a:ext uri="{9D8B030D-6E8A-4147-A177-3AD203B41FA5}">
                          <a16:colId xmlns:a16="http://schemas.microsoft.com/office/drawing/2014/main" val="190678668"/>
                        </a:ext>
                      </a:extLst>
                    </a:gridCol>
                  </a:tblGrid>
                  <a:tr h="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b="0" dirty="0">
                              <a:latin typeface="HurmeGeometricSans1 Regular" panose="020B0500020000000000" pitchFamily="34" charset="77"/>
                            </a:rPr>
                            <a:t>n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fr-FR" b="0" i="0" dirty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Object</m:t>
                                </m:r>
                              </m:oMath>
                            </m:oMathPara>
                          </a14:m>
                          <a:endParaRPr lang="fr-FR" b="0" i="0" dirty="0"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9092461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Coffee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24753513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Juice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608179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Tea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10573971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Tableau 3">
                <a:extLst>
                  <a:ext uri="{FF2B5EF4-FFF2-40B4-BE49-F238E27FC236}">
                    <a16:creationId xmlns:a16="http://schemas.microsoft.com/office/drawing/2014/main" id="{150463A2-A286-4DFF-C867-7AA518141690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20220460"/>
                  </p:ext>
                </p:extLst>
              </p:nvPr>
            </p:nvGraphicFramePr>
            <p:xfrm>
              <a:off x="9010352" y="2475718"/>
              <a:ext cx="1626362" cy="1478280"/>
            </p:xfrm>
            <a:graphic>
              <a:graphicData uri="http://schemas.openxmlformats.org/drawingml/2006/table">
                <a:tbl>
                  <a:tblPr firstRow="1" bandRow="1">
                    <a:tableStyleId>{F2DE63D5-997A-4646-A377-4702673A728D}</a:tableStyleId>
                  </a:tblPr>
                  <a:tblGrid>
                    <a:gridCol w="455930">
                      <a:extLst>
                        <a:ext uri="{9D8B030D-6E8A-4147-A177-3AD203B41FA5}">
                          <a16:colId xmlns:a16="http://schemas.microsoft.com/office/drawing/2014/main" val="2175429142"/>
                        </a:ext>
                      </a:extLst>
                    </a:gridCol>
                    <a:gridCol w="1170432">
                      <a:extLst>
                        <a:ext uri="{9D8B030D-6E8A-4147-A177-3AD203B41FA5}">
                          <a16:colId xmlns:a16="http://schemas.microsoft.com/office/drawing/2014/main" val="190678668"/>
                        </a:ext>
                      </a:extLst>
                    </a:gridCol>
                  </a:tblGrid>
                  <a:tr h="36576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b="0" dirty="0">
                              <a:latin typeface="HurmeGeometricSans1 Regular" panose="020B0500020000000000" pitchFamily="34" charset="77"/>
                            </a:rPr>
                            <a:t>n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 anchor="ctr">
                        <a:blipFill>
                          <a:blip r:embed="rId3"/>
                          <a:stretch>
                            <a:fillRect l="-39785" t="-6897" b="-31724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9092461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Coffee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24753513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Juice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608179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Tea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105739710"/>
                      </a:ext>
                    </a:extLst>
                  </a:tr>
                </a:tbl>
              </a:graphicData>
            </a:graphic>
          </p:graphicFrame>
        </mc:Fallback>
      </mc:AlternateContent>
      <p:grpSp>
        <p:nvGrpSpPr>
          <p:cNvPr id="28" name="Groupe 27">
            <a:extLst>
              <a:ext uri="{FF2B5EF4-FFF2-40B4-BE49-F238E27FC236}">
                <a16:creationId xmlns:a16="http://schemas.microsoft.com/office/drawing/2014/main" id="{0C373794-136E-8A46-B910-E68B5EB3DC53}"/>
              </a:ext>
            </a:extLst>
          </p:cNvPr>
          <p:cNvGrpSpPr/>
          <p:nvPr/>
        </p:nvGrpSpPr>
        <p:grpSpPr>
          <a:xfrm>
            <a:off x="459151" y="2497290"/>
            <a:ext cx="9800499" cy="4269270"/>
            <a:chOff x="459151" y="1521930"/>
            <a:chExt cx="9800499" cy="4269270"/>
          </a:xfrm>
        </p:grpSpPr>
        <p:sp>
          <p:nvSpPr>
            <p:cNvPr id="29" name="Text Placeholder 4">
              <a:extLst>
                <a:ext uri="{FF2B5EF4-FFF2-40B4-BE49-F238E27FC236}">
                  <a16:creationId xmlns:a16="http://schemas.microsoft.com/office/drawing/2014/main" id="{56E58C65-4159-604E-AE73-5474CBCAF910}"/>
                </a:ext>
              </a:extLst>
            </p:cNvPr>
            <p:cNvSpPr txBox="1">
              <a:spLocks/>
            </p:cNvSpPr>
            <p:nvPr/>
          </p:nvSpPr>
          <p:spPr>
            <a:xfrm>
              <a:off x="459151" y="1521930"/>
              <a:ext cx="9800499" cy="426927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/>
                <a:t>Rankings are complete ordering over set of items:</a:t>
              </a:r>
            </a:p>
            <a:p>
              <a:pPr marL="285750" indent="-285750">
                <a:buFontTx/>
                <a:buChar char="-"/>
              </a:pPr>
              <a:r>
                <a:rPr lang="en-US" sz="1600" dirty="0"/>
                <a:t>Example: </a:t>
              </a:r>
              <a:r>
                <a:rPr lang="en-US" sz="1600" dirty="0">
                  <a:solidFill>
                    <a:schemeClr val="accent4">
                      <a:lumMod val="75000"/>
                    </a:schemeClr>
                  </a:solidFill>
                </a:rPr>
                <a:t>juice</a:t>
              </a:r>
              <a:r>
                <a:rPr lang="en-US" sz="1600" dirty="0"/>
                <a:t> </a:t>
              </a:r>
              <a:r>
                <a:rPr lang="en-US" sz="1600" dirty="0">
                  <a:solidFill>
                    <a:schemeClr val="tx2"/>
                  </a:solidFill>
                </a:rPr>
                <a:t>is better than </a:t>
              </a:r>
              <a:r>
                <a:rPr lang="en-US" sz="1600" dirty="0">
                  <a:solidFill>
                    <a:schemeClr val="accent5">
                      <a:lumMod val="50000"/>
                    </a:schemeClr>
                  </a:solidFill>
                </a:rPr>
                <a:t>tea</a:t>
              </a:r>
              <a:r>
                <a:rPr lang="en-US" sz="1600" dirty="0"/>
                <a:t> </a:t>
              </a:r>
              <a:r>
                <a:rPr lang="en-US" sz="1600" dirty="0">
                  <a:solidFill>
                    <a:schemeClr val="tx2"/>
                  </a:solidFill>
                </a:rPr>
                <a:t>is better than </a:t>
              </a:r>
              <a:r>
                <a:rPr lang="en-US" sz="1600" dirty="0">
                  <a:solidFill>
                    <a:schemeClr val="bg2">
                      <a:lumMod val="50000"/>
                    </a:schemeClr>
                  </a:solidFill>
                </a:rPr>
                <a:t>coffee</a:t>
              </a:r>
            </a:p>
            <a:p>
              <a:endParaRPr lang="en-US" sz="1600" dirty="0">
                <a:solidFill>
                  <a:schemeClr val="bg2">
                    <a:lumMod val="50000"/>
                  </a:schemeClr>
                </a:solidFill>
              </a:endParaRPr>
            </a:p>
            <a:p>
              <a:endParaRPr lang="en-US" sz="1600" dirty="0">
                <a:solidFill>
                  <a:schemeClr val="bg2">
                    <a:lumMod val="50000"/>
                  </a:schemeClr>
                </a:solidFill>
              </a:endParaRPr>
            </a:p>
            <a:p>
              <a:pPr marL="285750" indent="-285750">
                <a:buFontTx/>
                <a:buChar char="-"/>
              </a:pPr>
              <a:r>
                <a:rPr lang="en-US" sz="1600" dirty="0">
                  <a:solidFill>
                    <a:schemeClr val="tx2"/>
                  </a:solidFill>
                </a:rPr>
                <a:t>Formalization</a:t>
              </a:r>
              <a:r>
                <a:rPr lang="en-US" sz="1600" dirty="0"/>
                <a:t>: a ranking                  is:</a:t>
              </a:r>
            </a:p>
            <a:p>
              <a:pPr marL="742939" lvl="1" indent="-285750">
                <a:buFontTx/>
                <a:buChar char="-"/>
              </a:pPr>
              <a:r>
                <a:rPr lang="en-US" sz="1600" dirty="0">
                  <a:solidFill>
                    <a:schemeClr val="tx1"/>
                  </a:solidFill>
                </a:rPr>
                <a:t>A bijective function from       to       such that                                 , e.g. </a:t>
              </a:r>
            </a:p>
            <a:p>
              <a:pPr marL="742939" lvl="1" indent="-285750">
                <a:buFontTx/>
                <a:buChar char="-"/>
              </a:pPr>
              <a:r>
                <a:rPr lang="en-US" sz="1600" dirty="0">
                  <a:solidFill>
                    <a:schemeClr val="tx1"/>
                  </a:solidFill>
                </a:rPr>
                <a:t>A strict total order i.e. a sequence                                        </a:t>
              </a:r>
              <a:r>
                <a:rPr lang="en-US" sz="1600" dirty="0" err="1">
                  <a:solidFill>
                    <a:schemeClr val="tx1"/>
                  </a:solidFill>
                </a:rPr>
                <a:t>s.t.</a:t>
              </a:r>
              <a:r>
                <a:rPr lang="en-US" sz="1600" dirty="0">
                  <a:solidFill>
                    <a:schemeClr val="tx1"/>
                  </a:solidFill>
                </a:rPr>
                <a:t>                                           </a:t>
              </a:r>
            </a:p>
            <a:p>
              <a:pPr lvl="1">
                <a:spcBef>
                  <a:spcPts val="0"/>
                </a:spcBef>
              </a:pPr>
              <a:r>
                <a:rPr lang="en-US" sz="1600" dirty="0">
                  <a:solidFill>
                    <a:schemeClr val="tx1"/>
                  </a:solidFill>
                </a:rPr>
                <a:t>       e.g.</a:t>
              </a:r>
            </a:p>
            <a:p>
              <a:pPr lvl="1">
                <a:spcBef>
                  <a:spcPts val="0"/>
                </a:spcBef>
              </a:pPr>
              <a:endParaRPr lang="en-US" sz="1600" dirty="0">
                <a:solidFill>
                  <a:schemeClr val="tx1"/>
                </a:solidFill>
              </a:endParaRPr>
            </a:p>
            <a:p>
              <a:pPr marL="285750" indent="-285750">
                <a:spcBef>
                  <a:spcPts val="0"/>
                </a:spcBef>
                <a:buFontTx/>
                <a:buChar char="-"/>
              </a:pPr>
              <a:r>
                <a:rPr lang="en-US" sz="1600" dirty="0">
                  <a:solidFill>
                    <a:schemeClr val="tx2"/>
                  </a:solidFill>
                </a:rPr>
                <a:t>No feature regime</a:t>
              </a:r>
              <a:r>
                <a:rPr lang="en-US" sz="1600" dirty="0">
                  <a:solidFill>
                    <a:schemeClr val="tx1"/>
                  </a:solidFill>
                </a:rPr>
                <a:t>: </a:t>
              </a:r>
            </a:p>
            <a:p>
              <a:pPr>
                <a:spcBef>
                  <a:spcPts val="0"/>
                </a:spcBef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id="{9F743437-9849-9D40-BAF0-EF00DA9824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22059" y="3118407"/>
              <a:ext cx="635000" cy="177800"/>
            </a:xfrm>
            <a:prstGeom prst="rect">
              <a:avLst/>
            </a:prstGeom>
          </p:spPr>
        </p:pic>
        <p:pic>
          <p:nvPicPr>
            <p:cNvPr id="33" name="Image 32">
              <a:extLst>
                <a:ext uri="{FF2B5EF4-FFF2-40B4-BE49-F238E27FC236}">
                  <a16:creationId xmlns:a16="http://schemas.microsoft.com/office/drawing/2014/main" id="{B73D6E6B-7E75-E44B-A762-18BA7B66E4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07378" y="4151310"/>
              <a:ext cx="1282700" cy="152400"/>
            </a:xfrm>
            <a:prstGeom prst="rect">
              <a:avLst/>
            </a:prstGeom>
          </p:spPr>
        </p:pic>
        <p:grpSp>
          <p:nvGrpSpPr>
            <p:cNvPr id="34" name="Groupe 33">
              <a:extLst>
                <a:ext uri="{FF2B5EF4-FFF2-40B4-BE49-F238E27FC236}">
                  <a16:creationId xmlns:a16="http://schemas.microsoft.com/office/drawing/2014/main" id="{DAD4C8FD-40C5-944C-90AD-C3DC64B26250}"/>
                </a:ext>
              </a:extLst>
            </p:cNvPr>
            <p:cNvGrpSpPr/>
            <p:nvPr/>
          </p:nvGrpSpPr>
          <p:grpSpPr>
            <a:xfrm>
              <a:off x="2567847" y="2517591"/>
              <a:ext cx="3651006" cy="152400"/>
              <a:chOff x="2567847" y="2517591"/>
              <a:chExt cx="3651006" cy="152400"/>
            </a:xfrm>
          </p:grpSpPr>
          <p:grpSp>
            <p:nvGrpSpPr>
              <p:cNvPr id="45" name="Groupe 44">
                <a:extLst>
                  <a:ext uri="{FF2B5EF4-FFF2-40B4-BE49-F238E27FC236}">
                    <a16:creationId xmlns:a16="http://schemas.microsoft.com/office/drawing/2014/main" id="{B39C470C-E513-CD47-BA4D-20D423C3C723}"/>
                  </a:ext>
                </a:extLst>
              </p:cNvPr>
              <p:cNvGrpSpPr/>
              <p:nvPr/>
            </p:nvGrpSpPr>
            <p:grpSpPr>
              <a:xfrm>
                <a:off x="2567847" y="2517591"/>
                <a:ext cx="2786943" cy="152400"/>
                <a:chOff x="2437218" y="2517591"/>
                <a:chExt cx="2786943" cy="152400"/>
              </a:xfrm>
            </p:grpSpPr>
            <p:pic>
              <p:nvPicPr>
                <p:cNvPr id="47" name="Image 46">
                  <a:extLst>
                    <a:ext uri="{FF2B5EF4-FFF2-40B4-BE49-F238E27FC236}">
                      <a16:creationId xmlns:a16="http://schemas.microsoft.com/office/drawing/2014/main" id="{120051E7-E44B-4349-B185-9DF121E6AC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437218" y="2517591"/>
                  <a:ext cx="101600" cy="152400"/>
                </a:xfrm>
                <a:prstGeom prst="rect">
                  <a:avLst/>
                </a:prstGeom>
              </p:spPr>
            </p:pic>
            <p:pic>
              <p:nvPicPr>
                <p:cNvPr id="48" name="Image 47">
                  <a:extLst>
                    <a:ext uri="{FF2B5EF4-FFF2-40B4-BE49-F238E27FC236}">
                      <a16:creationId xmlns:a16="http://schemas.microsoft.com/office/drawing/2014/main" id="{04C08AAA-720A-DB43-9E4F-91D4E36D6C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360599" y="2530291"/>
                  <a:ext cx="139700" cy="127000"/>
                </a:xfrm>
                <a:prstGeom prst="rect">
                  <a:avLst/>
                </a:prstGeom>
              </p:spPr>
            </p:pic>
            <p:pic>
              <p:nvPicPr>
                <p:cNvPr id="49" name="Image 48">
                  <a:extLst>
                    <a:ext uri="{FF2B5EF4-FFF2-40B4-BE49-F238E27FC236}">
                      <a16:creationId xmlns:a16="http://schemas.microsoft.com/office/drawing/2014/main" id="{E6859FED-2E82-4840-9BF4-4B466D4D12C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192830" y="2517591"/>
                  <a:ext cx="101600" cy="152400"/>
                </a:xfrm>
                <a:prstGeom prst="rect">
                  <a:avLst/>
                </a:prstGeom>
              </p:spPr>
            </p:pic>
            <p:pic>
              <p:nvPicPr>
                <p:cNvPr id="50" name="Image 49">
                  <a:extLst>
                    <a:ext uri="{FF2B5EF4-FFF2-40B4-BE49-F238E27FC236}">
                      <a16:creationId xmlns:a16="http://schemas.microsoft.com/office/drawing/2014/main" id="{0DD9E871-E77C-364A-90CA-AF7DB0A4CC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084461" y="2530291"/>
                  <a:ext cx="139700" cy="127000"/>
                </a:xfrm>
                <a:prstGeom prst="rect">
                  <a:avLst/>
                </a:prstGeom>
              </p:spPr>
            </p:pic>
          </p:grpSp>
          <p:pic>
            <p:nvPicPr>
              <p:cNvPr id="46" name="Image 45">
                <a:extLst>
                  <a:ext uri="{FF2B5EF4-FFF2-40B4-BE49-F238E27FC236}">
                    <a16:creationId xmlns:a16="http://schemas.microsoft.com/office/drawing/2014/main" id="{86B6EF8A-C5FD-8C46-B1EC-331A714D2E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129953" y="2517591"/>
                <a:ext cx="88900" cy="152400"/>
              </a:xfrm>
              <a:prstGeom prst="rect">
                <a:avLst/>
              </a:prstGeom>
            </p:spPr>
          </p:pic>
        </p:grpSp>
        <p:pic>
          <p:nvPicPr>
            <p:cNvPr id="35" name="Image 34">
              <a:extLst>
                <a:ext uri="{FF2B5EF4-FFF2-40B4-BE49-F238E27FC236}">
                  <a16:creationId xmlns:a16="http://schemas.microsoft.com/office/drawing/2014/main" id="{9E190B02-1EA9-264F-81B5-5F9027AEC9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004485" y="3466299"/>
              <a:ext cx="1409700" cy="215900"/>
            </a:xfrm>
            <a:prstGeom prst="rect">
              <a:avLst/>
            </a:prstGeom>
          </p:spPr>
        </p:pic>
        <p:grpSp>
          <p:nvGrpSpPr>
            <p:cNvPr id="36" name="Groupe 35">
              <a:extLst>
                <a:ext uri="{FF2B5EF4-FFF2-40B4-BE49-F238E27FC236}">
                  <a16:creationId xmlns:a16="http://schemas.microsoft.com/office/drawing/2014/main" id="{10E38A78-145C-374F-954A-7A1582AAAC3C}"/>
                </a:ext>
              </a:extLst>
            </p:cNvPr>
            <p:cNvGrpSpPr/>
            <p:nvPr/>
          </p:nvGrpSpPr>
          <p:grpSpPr>
            <a:xfrm>
              <a:off x="6915367" y="3461533"/>
              <a:ext cx="702510" cy="215900"/>
              <a:chOff x="6009303" y="3475277"/>
              <a:chExt cx="702510" cy="215900"/>
            </a:xfrm>
          </p:grpSpPr>
          <p:pic>
            <p:nvPicPr>
              <p:cNvPr id="42" name="Image 41">
                <a:extLst>
                  <a:ext uri="{FF2B5EF4-FFF2-40B4-BE49-F238E27FC236}">
                    <a16:creationId xmlns:a16="http://schemas.microsoft.com/office/drawing/2014/main" id="{267BD92E-0F0D-6645-BCDF-D9047C4690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009303" y="3475277"/>
                <a:ext cx="330200" cy="215900"/>
              </a:xfrm>
              <a:prstGeom prst="rect">
                <a:avLst/>
              </a:prstGeom>
            </p:spPr>
          </p:pic>
          <p:pic>
            <p:nvPicPr>
              <p:cNvPr id="43" name="Image 42">
                <a:extLst>
                  <a:ext uri="{FF2B5EF4-FFF2-40B4-BE49-F238E27FC236}">
                    <a16:creationId xmlns:a16="http://schemas.microsoft.com/office/drawing/2014/main" id="{4E1B320F-C805-354B-9512-21B11B3A61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193933" y="3494136"/>
                <a:ext cx="101600" cy="152400"/>
              </a:xfrm>
              <a:prstGeom prst="rect">
                <a:avLst/>
              </a:prstGeom>
            </p:spPr>
          </p:pic>
          <p:pic>
            <p:nvPicPr>
              <p:cNvPr id="44" name="Image 43">
                <a:extLst>
                  <a:ext uri="{FF2B5EF4-FFF2-40B4-BE49-F238E27FC236}">
                    <a16:creationId xmlns:a16="http://schemas.microsoft.com/office/drawing/2014/main" id="{B1C2902F-B305-A94F-A958-2D03B0A07F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407013" y="3501451"/>
                <a:ext cx="304800" cy="152400"/>
              </a:xfrm>
              <a:prstGeom prst="rect">
                <a:avLst/>
              </a:prstGeom>
            </p:spPr>
          </p:pic>
        </p:grpSp>
        <p:pic>
          <p:nvPicPr>
            <p:cNvPr id="37" name="Image 36">
              <a:extLst>
                <a:ext uri="{FF2B5EF4-FFF2-40B4-BE49-F238E27FC236}">
                  <a16:creationId xmlns:a16="http://schemas.microsoft.com/office/drawing/2014/main" id="{A7CB121A-8C3A-314B-AAAB-CB55C44FD4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385305" y="3454107"/>
              <a:ext cx="203200" cy="215900"/>
            </a:xfrm>
            <a:prstGeom prst="rect">
              <a:avLst/>
            </a:prstGeom>
          </p:spPr>
        </p:pic>
        <p:pic>
          <p:nvPicPr>
            <p:cNvPr id="38" name="Image 37">
              <a:extLst>
                <a:ext uri="{FF2B5EF4-FFF2-40B4-BE49-F238E27FC236}">
                  <a16:creationId xmlns:a16="http://schemas.microsoft.com/office/drawing/2014/main" id="{53DD57AE-05EC-1B4A-A4C7-915F09C81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872893" y="3454107"/>
              <a:ext cx="203200" cy="215900"/>
            </a:xfrm>
            <a:prstGeom prst="rect">
              <a:avLst/>
            </a:prstGeom>
          </p:spPr>
        </p:pic>
        <p:pic>
          <p:nvPicPr>
            <p:cNvPr id="40" name="Image 39">
              <a:extLst>
                <a:ext uri="{FF2B5EF4-FFF2-40B4-BE49-F238E27FC236}">
                  <a16:creationId xmlns:a16="http://schemas.microsoft.com/office/drawing/2014/main" id="{0913E371-B964-1049-AE7A-8E2948C8F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269124" y="3854080"/>
              <a:ext cx="1841500" cy="215900"/>
            </a:xfrm>
            <a:prstGeom prst="rect">
              <a:avLst/>
            </a:prstGeom>
          </p:spPr>
        </p:pic>
        <p:pic>
          <p:nvPicPr>
            <p:cNvPr id="41" name="Image 40">
              <a:extLst>
                <a:ext uri="{FF2B5EF4-FFF2-40B4-BE49-F238E27FC236}">
                  <a16:creationId xmlns:a16="http://schemas.microsoft.com/office/drawing/2014/main" id="{152A93ED-A06C-814F-9888-6B5DED36C9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134600" y="3817780"/>
              <a:ext cx="1689100" cy="241300"/>
            </a:xfrm>
            <a:prstGeom prst="rect">
              <a:avLst/>
            </a:prstGeom>
          </p:spPr>
        </p:pic>
      </p:grp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68D481B6-326B-1146-9E6B-AD53DCAE62D5}"/>
              </a:ext>
            </a:extLst>
          </p:cNvPr>
          <p:cNvGrpSpPr/>
          <p:nvPr/>
        </p:nvGrpSpPr>
        <p:grpSpPr>
          <a:xfrm>
            <a:off x="459151" y="1521930"/>
            <a:ext cx="9800499" cy="1658187"/>
            <a:chOff x="459151" y="1521930"/>
            <a:chExt cx="9800499" cy="1658187"/>
          </a:xfrm>
        </p:grpSpPr>
        <p:sp>
          <p:nvSpPr>
            <p:cNvPr id="39" name="Text Placeholder 4">
              <a:extLst>
                <a:ext uri="{FF2B5EF4-FFF2-40B4-BE49-F238E27FC236}">
                  <a16:creationId xmlns:a16="http://schemas.microsoft.com/office/drawing/2014/main" id="{DF6834F2-3F12-4991-C146-43A5B1183415}"/>
                </a:ext>
              </a:extLst>
            </p:cNvPr>
            <p:cNvSpPr txBox="1">
              <a:spLocks/>
            </p:cNvSpPr>
            <p:nvPr/>
          </p:nvSpPr>
          <p:spPr>
            <a:xfrm>
              <a:off x="459151" y="1521930"/>
              <a:ext cx="9800499" cy="165818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/>
                <a:t>Problem: </a:t>
              </a:r>
              <a:r>
                <a:rPr lang="en-US" sz="1600" dirty="0"/>
                <a:t>being robust to poisoning attacks</a:t>
              </a:r>
            </a:p>
            <a:p>
              <a:pPr>
                <a:spcBef>
                  <a:spcPts val="300"/>
                </a:spcBef>
              </a:pPr>
              <a:r>
                <a:rPr lang="en-US" sz="1600" dirty="0">
                  <a:sym typeface="Wingdings" pitchFamily="2" charset="2"/>
                </a:rPr>
                <a:t>                   What are      and </a:t>
              </a:r>
              <a:r>
                <a:rPr lang="en-US" sz="1600" dirty="0"/>
                <a:t>      ?</a:t>
              </a:r>
              <a:endParaRPr lang="en-US" sz="16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pic>
          <p:nvPicPr>
            <p:cNvPr id="51" name="Image 50">
              <a:extLst>
                <a:ext uri="{FF2B5EF4-FFF2-40B4-BE49-F238E27FC236}">
                  <a16:creationId xmlns:a16="http://schemas.microsoft.com/office/drawing/2014/main" id="{F081E286-6615-EE46-B826-34ECA66D4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199532" y="1623201"/>
              <a:ext cx="2057400" cy="215900"/>
            </a:xfrm>
            <a:prstGeom prst="rect">
              <a:avLst/>
            </a:prstGeom>
          </p:spPr>
        </p:pic>
        <p:pic>
          <p:nvPicPr>
            <p:cNvPr id="52" name="Image 51">
              <a:extLst>
                <a:ext uri="{FF2B5EF4-FFF2-40B4-BE49-F238E27FC236}">
                  <a16:creationId xmlns:a16="http://schemas.microsoft.com/office/drawing/2014/main" id="{5AAC687B-1A82-0E46-9746-9630852FE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338205" y="1638510"/>
              <a:ext cx="2603500" cy="215900"/>
            </a:xfrm>
            <a:prstGeom prst="rect">
              <a:avLst/>
            </a:prstGeom>
          </p:spPr>
        </p:pic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3A0B10CF-725D-FB4C-9B89-D98EBB9CA2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2435850" y="1988494"/>
              <a:ext cx="152400" cy="152400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5D08F76E-04A3-6E4B-84FD-444E1F55F8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3074967" y="1970120"/>
              <a:ext cx="152400" cy="190500"/>
            </a:xfrm>
            <a:prstGeom prst="rect">
              <a:avLst/>
            </a:prstGeom>
          </p:spPr>
        </p:pic>
      </p:grpSp>
      <p:pic>
        <p:nvPicPr>
          <p:cNvPr id="53" name="Image 52">
            <a:extLst>
              <a:ext uri="{FF2B5EF4-FFF2-40B4-BE49-F238E27FC236}">
                <a16:creationId xmlns:a16="http://schemas.microsoft.com/office/drawing/2014/main" id="{D4592DAB-3B60-8542-85A2-376EB064112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495794" y="5703679"/>
            <a:ext cx="1168400" cy="215900"/>
          </a:xfrm>
          <a:prstGeom prst="rect">
            <a:avLst/>
          </a:prstGeom>
        </p:spPr>
      </p:pic>
      <p:pic>
        <p:nvPicPr>
          <p:cNvPr id="54" name="Image 53">
            <a:extLst>
              <a:ext uri="{FF2B5EF4-FFF2-40B4-BE49-F238E27FC236}">
                <a16:creationId xmlns:a16="http://schemas.microsoft.com/office/drawing/2014/main" id="{A3CB84A8-5CCC-C74A-898E-CA0B8F71708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227367" y="5718124"/>
            <a:ext cx="177800" cy="152400"/>
          </a:xfrm>
          <a:prstGeom prst="rect">
            <a:avLst/>
          </a:prstGeom>
        </p:spPr>
      </p:pic>
      <p:pic>
        <p:nvPicPr>
          <p:cNvPr id="55" name="Image 54">
            <a:extLst>
              <a:ext uri="{FF2B5EF4-FFF2-40B4-BE49-F238E27FC236}">
                <a16:creationId xmlns:a16="http://schemas.microsoft.com/office/drawing/2014/main" id="{0006BF9E-BC16-104C-A6FB-31DB5CAA1C0C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959678" y="5710682"/>
            <a:ext cx="596900" cy="215900"/>
          </a:xfrm>
          <a:prstGeom prst="rect">
            <a:avLst/>
          </a:prstGeom>
        </p:spPr>
      </p:pic>
      <p:pic>
        <p:nvPicPr>
          <p:cNvPr id="56" name="Image 55">
            <a:extLst>
              <a:ext uri="{FF2B5EF4-FFF2-40B4-BE49-F238E27FC236}">
                <a16:creationId xmlns:a16="http://schemas.microsoft.com/office/drawing/2014/main" id="{3F3D1D36-A392-B64A-AF2C-84268626A00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121809" y="5717882"/>
            <a:ext cx="215900" cy="215900"/>
          </a:xfrm>
          <a:prstGeom prst="rect">
            <a:avLst/>
          </a:prstGeom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94610476-E960-BD43-8298-44EBB1D27334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752088" y="5793232"/>
            <a:ext cx="152400" cy="50800"/>
          </a:xfrm>
          <a:prstGeom prst="rect">
            <a:avLst/>
          </a:prstGeom>
        </p:spPr>
      </p:pic>
      <p:pic>
        <p:nvPicPr>
          <p:cNvPr id="59" name="Image 58">
            <a:extLst>
              <a:ext uri="{FF2B5EF4-FFF2-40B4-BE49-F238E27FC236}">
                <a16:creationId xmlns:a16="http://schemas.microsoft.com/office/drawing/2014/main" id="{53292DA0-1B94-2842-B7D1-AB7F5003850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611768" y="5717882"/>
            <a:ext cx="7747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1653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Introduction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Metrics on the space of rankings</a:t>
            </a:r>
          </a:p>
        </p:txBody>
      </p:sp>
      <p:grpSp>
        <p:nvGrpSpPr>
          <p:cNvPr id="50" name="Groupe 49">
            <a:extLst>
              <a:ext uri="{FF2B5EF4-FFF2-40B4-BE49-F238E27FC236}">
                <a16:creationId xmlns:a16="http://schemas.microsoft.com/office/drawing/2014/main" id="{615D0A2B-7C91-BC4A-BC98-2FCAF127D1A2}"/>
              </a:ext>
            </a:extLst>
          </p:cNvPr>
          <p:cNvGrpSpPr/>
          <p:nvPr/>
        </p:nvGrpSpPr>
        <p:grpSpPr>
          <a:xfrm>
            <a:off x="464452" y="2281365"/>
            <a:ext cx="10253545" cy="3653228"/>
            <a:chOff x="464452" y="1379157"/>
            <a:chExt cx="10253545" cy="3653228"/>
          </a:xfrm>
        </p:grpSpPr>
        <p:sp>
          <p:nvSpPr>
            <p:cNvPr id="39" name="Text Placeholder 4">
              <a:extLst>
                <a:ext uri="{FF2B5EF4-FFF2-40B4-BE49-F238E27FC236}">
                  <a16:creationId xmlns:a16="http://schemas.microsoft.com/office/drawing/2014/main" id="{DF6834F2-3F12-4991-C146-43A5B1183415}"/>
                </a:ext>
              </a:extLst>
            </p:cNvPr>
            <p:cNvSpPr txBox="1">
              <a:spLocks/>
            </p:cNvSpPr>
            <p:nvPr/>
          </p:nvSpPr>
          <p:spPr>
            <a:xfrm>
              <a:off x="464452" y="2849776"/>
              <a:ext cx="9066413" cy="189861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Tx/>
                <a:buChar char="-"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DCA67682-0D18-C648-A554-4954581382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5034" t="1" b="1165"/>
            <a:stretch/>
          </p:blipFill>
          <p:spPr>
            <a:xfrm>
              <a:off x="683086" y="1628264"/>
              <a:ext cx="285531" cy="175729"/>
            </a:xfrm>
            <a:prstGeom prst="rect">
              <a:avLst/>
            </a:prstGeom>
          </p:spPr>
        </p:pic>
        <p:sp>
          <p:nvSpPr>
            <p:cNvPr id="37" name="Text Placeholder 4">
              <a:extLst>
                <a:ext uri="{FF2B5EF4-FFF2-40B4-BE49-F238E27FC236}">
                  <a16:creationId xmlns:a16="http://schemas.microsoft.com/office/drawing/2014/main" id="{C111F78B-DDBB-1549-8782-B7D3BA642156}"/>
                </a:ext>
              </a:extLst>
            </p:cNvPr>
            <p:cNvSpPr txBox="1">
              <a:spLocks/>
            </p:cNvSpPr>
            <p:nvPr/>
          </p:nvSpPr>
          <p:spPr>
            <a:xfrm>
              <a:off x="656959" y="1509379"/>
              <a:ext cx="9800499" cy="316849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/>
                <a:t>      is metrizable</a:t>
              </a:r>
            </a:p>
            <a:p>
              <a:pPr marL="285750" indent="-285750">
                <a:buFontTx/>
                <a:buChar char="-"/>
              </a:pPr>
              <a:r>
                <a:rPr lang="en-US" sz="1600" dirty="0">
                  <a:solidFill>
                    <a:schemeClr val="tx2"/>
                  </a:solidFill>
                </a:rPr>
                <a:t>Kendall-Tau distance:                                        </a:t>
              </a:r>
              <a:r>
                <a:rPr lang="en-US" sz="1600" dirty="0" err="1"/>
                <a:t>s.t.</a:t>
              </a:r>
              <a:r>
                <a:rPr lang="en-US" sz="1600" dirty="0"/>
                <a:t> </a:t>
              </a:r>
            </a:p>
            <a:p>
              <a:pPr marL="285750" indent="-285750">
                <a:buFontTx/>
                <a:buChar char="-"/>
              </a:pPr>
              <a:endParaRPr lang="en-US" sz="1600" dirty="0"/>
            </a:p>
            <a:p>
              <a:pPr marL="285750" indent="-285750">
                <a:buFontTx/>
                <a:buChar char="-"/>
              </a:pPr>
              <a:endParaRPr lang="en-US" sz="1600" dirty="0"/>
            </a:p>
            <a:p>
              <a:pPr marL="285750" indent="-285750">
                <a:buFontTx/>
                <a:buChar char="-"/>
              </a:pPr>
              <a:endParaRPr lang="en-US" sz="1600" dirty="0"/>
            </a:p>
            <a:p>
              <a:pPr marL="285750" indent="-285750">
                <a:spcBef>
                  <a:spcPts val="1000"/>
                </a:spcBef>
                <a:buFontTx/>
                <a:buChar char="-"/>
              </a:pPr>
              <a:r>
                <a:rPr lang="en-US" sz="1600" dirty="0">
                  <a:solidFill>
                    <a:schemeClr val="tx2"/>
                  </a:solidFill>
                </a:rPr>
                <a:t>Other distances:</a:t>
              </a:r>
              <a:endParaRPr lang="en-US" sz="1600" dirty="0"/>
            </a:p>
            <a:p>
              <a:pPr marL="742939" lvl="1" indent="-285750">
                <a:buFontTx/>
                <a:buChar char="-"/>
              </a:pPr>
              <a:r>
                <a:rPr lang="en-US" sz="1600" dirty="0">
                  <a:solidFill>
                    <a:schemeClr val="tx1"/>
                  </a:solidFill>
                </a:rPr>
                <a:t>Spearman’s Footrule (L1 norm):        </a:t>
              </a:r>
              <a:r>
                <a:rPr lang="en-US" sz="1600" dirty="0" err="1">
                  <a:solidFill>
                    <a:schemeClr val="tx1"/>
                  </a:solidFill>
                </a:rPr>
                <a:t>s.t.</a:t>
              </a:r>
              <a:endParaRPr lang="en-US" sz="1600" dirty="0">
                <a:solidFill>
                  <a:schemeClr val="tx1"/>
                </a:solidFill>
              </a:endParaRPr>
            </a:p>
            <a:p>
              <a:pPr marL="742939" lvl="1" indent="-285750">
                <a:buFontTx/>
                <a:buChar char="-"/>
              </a:pPr>
              <a:endParaRPr lang="en-US" sz="1600" dirty="0">
                <a:solidFill>
                  <a:schemeClr val="tx1"/>
                </a:solidFill>
              </a:endParaRPr>
            </a:p>
            <a:p>
              <a:pPr marL="742939" lvl="1" indent="-285750">
                <a:buFontTx/>
                <a:buChar char="-"/>
              </a:pPr>
              <a:r>
                <a:rPr lang="en-US" sz="1600" dirty="0">
                  <a:solidFill>
                    <a:schemeClr val="tx1"/>
                  </a:solidFill>
                </a:rPr>
                <a:t>Spearman’s Rho (L2 norm):        </a:t>
              </a:r>
              <a:r>
                <a:rPr lang="en-US" sz="1600" dirty="0" err="1">
                  <a:solidFill>
                    <a:schemeClr val="tx1"/>
                  </a:solidFill>
                </a:rPr>
                <a:t>s.t.</a:t>
              </a:r>
              <a:r>
                <a:rPr lang="en-US" sz="1600" dirty="0">
                  <a:solidFill>
                    <a:schemeClr val="tx1"/>
                  </a:solidFill>
                </a:rPr>
                <a:t>  </a:t>
              </a:r>
            </a:p>
          </p:txBody>
        </p: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FB034916-0584-9F44-BA30-7A4F7C41D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12534" y="2001778"/>
              <a:ext cx="1638300" cy="177800"/>
            </a:xfrm>
            <a:prstGeom prst="rect">
              <a:avLst/>
            </a:prstGeom>
          </p:spPr>
        </p:pic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id="{BC01FC38-4689-7042-89B8-9D1BA505D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21922" y="2339958"/>
              <a:ext cx="6032500" cy="482600"/>
            </a:xfrm>
            <a:prstGeom prst="rect">
              <a:avLst/>
            </a:prstGeom>
          </p:spPr>
        </p:pic>
        <p:pic>
          <p:nvPicPr>
            <p:cNvPr id="38" name="Image 37">
              <a:extLst>
                <a:ext uri="{FF2B5EF4-FFF2-40B4-BE49-F238E27FC236}">
                  <a16:creationId xmlns:a16="http://schemas.microsoft.com/office/drawing/2014/main" id="{9F0B69BF-1D8B-DE41-B93F-A2DCE10F96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31437" y="1379157"/>
              <a:ext cx="3086560" cy="1894720"/>
            </a:xfrm>
            <a:prstGeom prst="rect">
              <a:avLst/>
            </a:prstGeom>
          </p:spPr>
        </p:pic>
        <p:pic>
          <p:nvPicPr>
            <p:cNvPr id="40" name="Image 39">
              <a:extLst>
                <a:ext uri="{FF2B5EF4-FFF2-40B4-BE49-F238E27FC236}">
                  <a16:creationId xmlns:a16="http://schemas.microsoft.com/office/drawing/2014/main" id="{01CB2EBD-07D1-2248-A788-B59290CB8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65127" y="3719385"/>
              <a:ext cx="4102100" cy="558800"/>
            </a:xfrm>
            <a:prstGeom prst="rect">
              <a:avLst/>
            </a:prstGeom>
          </p:spPr>
        </p:pic>
        <p:pic>
          <p:nvPicPr>
            <p:cNvPr id="45" name="Image 44">
              <a:extLst>
                <a:ext uri="{FF2B5EF4-FFF2-40B4-BE49-F238E27FC236}">
                  <a16:creationId xmlns:a16="http://schemas.microsoft.com/office/drawing/2014/main" id="{5A5B638D-BE32-2E4A-9747-CD2523538E2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203201" y="3892134"/>
              <a:ext cx="177800" cy="177800"/>
            </a:xfrm>
            <a:prstGeom prst="rect">
              <a:avLst/>
            </a:prstGeom>
          </p:spPr>
        </p:pic>
        <p:pic>
          <p:nvPicPr>
            <p:cNvPr id="46" name="Image 45">
              <a:extLst>
                <a:ext uri="{FF2B5EF4-FFF2-40B4-BE49-F238E27FC236}">
                  <a16:creationId xmlns:a16="http://schemas.microsoft.com/office/drawing/2014/main" id="{B7A0643C-2CEC-4244-A762-B2D33669C3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97691" y="4621378"/>
              <a:ext cx="177800" cy="177800"/>
            </a:xfrm>
            <a:prstGeom prst="rect">
              <a:avLst/>
            </a:prstGeom>
          </p:spPr>
        </p:pic>
        <p:pic>
          <p:nvPicPr>
            <p:cNvPr id="47" name="Image 46">
              <a:extLst>
                <a:ext uri="{FF2B5EF4-FFF2-40B4-BE49-F238E27FC236}">
                  <a16:creationId xmlns:a16="http://schemas.microsoft.com/office/drawing/2014/main" id="{81925329-9983-6D49-89C2-6EE4F1B1ED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528577" y="4359285"/>
              <a:ext cx="4775200" cy="673100"/>
            </a:xfrm>
            <a:prstGeom prst="rect">
              <a:avLst/>
            </a:prstGeom>
          </p:spPr>
        </p:pic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2522607C-AC37-5941-932B-71BFF1355E49}"/>
              </a:ext>
            </a:extLst>
          </p:cNvPr>
          <p:cNvGrpSpPr/>
          <p:nvPr/>
        </p:nvGrpSpPr>
        <p:grpSpPr>
          <a:xfrm>
            <a:off x="459151" y="1521930"/>
            <a:ext cx="9800499" cy="1658187"/>
            <a:chOff x="459151" y="1521930"/>
            <a:chExt cx="9800499" cy="1658187"/>
          </a:xfrm>
        </p:grpSpPr>
        <p:sp>
          <p:nvSpPr>
            <p:cNvPr id="52" name="Text Placeholder 4">
              <a:extLst>
                <a:ext uri="{FF2B5EF4-FFF2-40B4-BE49-F238E27FC236}">
                  <a16:creationId xmlns:a16="http://schemas.microsoft.com/office/drawing/2014/main" id="{35471313-AF46-C845-9D6D-8968908724E7}"/>
                </a:ext>
              </a:extLst>
            </p:cNvPr>
            <p:cNvSpPr txBox="1">
              <a:spLocks/>
            </p:cNvSpPr>
            <p:nvPr/>
          </p:nvSpPr>
          <p:spPr>
            <a:xfrm>
              <a:off x="459151" y="1521930"/>
              <a:ext cx="9800499" cy="165818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/>
                <a:t>Problem: </a:t>
              </a:r>
              <a:r>
                <a:rPr lang="en-US" sz="1600" dirty="0"/>
                <a:t>being robust to poisoning attacks</a:t>
              </a:r>
            </a:p>
            <a:p>
              <a:pPr>
                <a:spcBef>
                  <a:spcPts val="300"/>
                </a:spcBef>
              </a:pPr>
              <a:r>
                <a:rPr lang="en-US" sz="1600" dirty="0">
                  <a:sym typeface="Wingdings" pitchFamily="2" charset="2"/>
                </a:rPr>
                <a:t>                   How to define     ?</a:t>
              </a:r>
              <a:endParaRPr lang="en-US" sz="16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pic>
          <p:nvPicPr>
            <p:cNvPr id="53" name="Image 52">
              <a:extLst>
                <a:ext uri="{FF2B5EF4-FFF2-40B4-BE49-F238E27FC236}">
                  <a16:creationId xmlns:a16="http://schemas.microsoft.com/office/drawing/2014/main" id="{485CF345-35D5-DD4E-B7F5-381004427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199532" y="1623201"/>
              <a:ext cx="2057400" cy="215900"/>
            </a:xfrm>
            <a:prstGeom prst="rect">
              <a:avLst/>
            </a:prstGeom>
          </p:spPr>
        </p:pic>
        <p:pic>
          <p:nvPicPr>
            <p:cNvPr id="54" name="Image 53">
              <a:extLst>
                <a:ext uri="{FF2B5EF4-FFF2-40B4-BE49-F238E27FC236}">
                  <a16:creationId xmlns:a16="http://schemas.microsoft.com/office/drawing/2014/main" id="{B8A56536-F2EC-9342-A5F5-B58DD14ED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338205" y="1638510"/>
              <a:ext cx="2603500" cy="215900"/>
            </a:xfrm>
            <a:prstGeom prst="rect">
              <a:avLst/>
            </a:prstGeom>
          </p:spPr>
        </p:pic>
      </p:grpSp>
      <p:pic>
        <p:nvPicPr>
          <p:cNvPr id="57" name="Image 56">
            <a:extLst>
              <a:ext uri="{FF2B5EF4-FFF2-40B4-BE49-F238E27FC236}">
                <a16:creationId xmlns:a16="http://schemas.microsoft.com/office/drawing/2014/main" id="{10733A09-C7C0-5549-B76B-2F94BB59CBD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842684" y="1960239"/>
            <a:ext cx="139700" cy="165100"/>
          </a:xfrm>
          <a:prstGeom prst="rect">
            <a:avLst/>
          </a:prstGeom>
        </p:spPr>
      </p:pic>
      <p:pic>
        <p:nvPicPr>
          <p:cNvPr id="59" name="Image 58">
            <a:extLst>
              <a:ext uri="{FF2B5EF4-FFF2-40B4-BE49-F238E27FC236}">
                <a16:creationId xmlns:a16="http://schemas.microsoft.com/office/drawing/2014/main" id="{26E2E45A-2AFD-5B47-BF30-7B037A2695C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21922" y="3853874"/>
            <a:ext cx="2349500" cy="215900"/>
          </a:xfrm>
          <a:prstGeom prst="rect">
            <a:avLst/>
          </a:prstGeom>
        </p:spPr>
      </p:pic>
      <p:grpSp>
        <p:nvGrpSpPr>
          <p:cNvPr id="5" name="Groupe 4">
            <a:extLst>
              <a:ext uri="{FF2B5EF4-FFF2-40B4-BE49-F238E27FC236}">
                <a16:creationId xmlns:a16="http://schemas.microsoft.com/office/drawing/2014/main" id="{BB426662-FD30-EB4B-BE9E-2DC690CD7BE4}"/>
              </a:ext>
            </a:extLst>
          </p:cNvPr>
          <p:cNvGrpSpPr/>
          <p:nvPr/>
        </p:nvGrpSpPr>
        <p:grpSpPr>
          <a:xfrm>
            <a:off x="3371422" y="3348307"/>
            <a:ext cx="198782" cy="112298"/>
            <a:chOff x="6003235" y="629478"/>
            <a:chExt cx="198782" cy="11229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6018B4C-06AC-4A4D-9B81-A21E6B3C4F1E}"/>
                </a:ext>
              </a:extLst>
            </p:cNvPr>
            <p:cNvSpPr/>
            <p:nvPr/>
          </p:nvSpPr>
          <p:spPr>
            <a:xfrm>
              <a:off x="6003235" y="629478"/>
              <a:ext cx="198782" cy="1122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0D44C9E8-2879-EB4F-8F5A-03F8FA2B8E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024611" y="654935"/>
              <a:ext cx="152400" cy="50800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7CF88302-C333-CC42-B7DA-AA98F807BFB5}"/>
              </a:ext>
            </a:extLst>
          </p:cNvPr>
          <p:cNvGrpSpPr/>
          <p:nvPr/>
        </p:nvGrpSpPr>
        <p:grpSpPr>
          <a:xfrm>
            <a:off x="7228327" y="4827093"/>
            <a:ext cx="198782" cy="112298"/>
            <a:chOff x="6003235" y="629478"/>
            <a:chExt cx="198782" cy="11229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140EF05-F74B-664B-B96E-7D59F42CCB7C}"/>
                </a:ext>
              </a:extLst>
            </p:cNvPr>
            <p:cNvSpPr/>
            <p:nvPr/>
          </p:nvSpPr>
          <p:spPr>
            <a:xfrm>
              <a:off x="6003235" y="629478"/>
              <a:ext cx="198782" cy="1122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56C6279F-11AA-3C44-84F0-FFFF2D8D08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024611" y="654935"/>
              <a:ext cx="152400" cy="50800"/>
            </a:xfrm>
            <a:prstGeom prst="rect">
              <a:avLst/>
            </a:prstGeom>
          </p:spPr>
        </p:pic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5A66CEF0-0BDE-6744-B08D-64C952297169}"/>
              </a:ext>
            </a:extLst>
          </p:cNvPr>
          <p:cNvGrpSpPr/>
          <p:nvPr/>
        </p:nvGrpSpPr>
        <p:grpSpPr>
          <a:xfrm>
            <a:off x="6855640" y="5576274"/>
            <a:ext cx="198782" cy="112298"/>
            <a:chOff x="6003235" y="629478"/>
            <a:chExt cx="198782" cy="112298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A963E42-AD25-C040-B41A-779D6BBB7754}"/>
                </a:ext>
              </a:extLst>
            </p:cNvPr>
            <p:cNvSpPr/>
            <p:nvPr/>
          </p:nvSpPr>
          <p:spPr>
            <a:xfrm>
              <a:off x="6003235" y="629478"/>
              <a:ext cx="198782" cy="1122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3" name="Image 32">
              <a:extLst>
                <a:ext uri="{FF2B5EF4-FFF2-40B4-BE49-F238E27FC236}">
                  <a16:creationId xmlns:a16="http://schemas.microsoft.com/office/drawing/2014/main" id="{710E150F-FE7F-DB40-A42F-75DB511BF2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024611" y="654935"/>
              <a:ext cx="152400" cy="50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440429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Classical Methods to Solve Consensus Ranking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Consensus Ranking and </a:t>
            </a:r>
            <a:r>
              <a:rPr lang="en-US" sz="1800" b="1" dirty="0" err="1">
                <a:latin typeface="Hurme Geometric Sans 4 SemiBold" panose="020B0A00020000000000" pitchFamily="34" charset="77"/>
                <a:sym typeface="Wingdings" pitchFamily="2" charset="2"/>
              </a:rPr>
              <a:t>Kemeny’s</a:t>
            </a:r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 Consensus</a:t>
            </a:r>
          </a:p>
        </p:txBody>
      </p: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3AE41FF1-A17C-C3DE-48B4-488831B686AD}"/>
              </a:ext>
            </a:extLst>
          </p:cNvPr>
          <p:cNvGrpSpPr/>
          <p:nvPr/>
        </p:nvGrpSpPr>
        <p:grpSpPr>
          <a:xfrm>
            <a:off x="464452" y="2435836"/>
            <a:ext cx="7633906" cy="3585467"/>
            <a:chOff x="991987" y="2395701"/>
            <a:chExt cx="7633906" cy="3585467"/>
          </a:xfrm>
        </p:grpSpPr>
        <p:sp>
          <p:nvSpPr>
            <p:cNvPr id="39" name="Text Placeholder 4">
              <a:extLst>
                <a:ext uri="{FF2B5EF4-FFF2-40B4-BE49-F238E27FC236}">
                  <a16:creationId xmlns:a16="http://schemas.microsoft.com/office/drawing/2014/main" id="{DF6834F2-3F12-4991-C146-43A5B1183415}"/>
                </a:ext>
              </a:extLst>
            </p:cNvPr>
            <p:cNvSpPr txBox="1">
              <a:spLocks/>
            </p:cNvSpPr>
            <p:nvPr/>
          </p:nvSpPr>
          <p:spPr>
            <a:xfrm>
              <a:off x="991987" y="2395701"/>
              <a:ext cx="7633906" cy="358546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u="sng" dirty="0"/>
                <a:t>Goal: </a:t>
              </a:r>
            </a:p>
            <a:p>
              <a:r>
                <a:rPr lang="en-US" sz="1600" dirty="0"/>
                <a:t>Given a </a:t>
              </a:r>
              <a:r>
                <a:rPr lang="en-US" sz="1600" dirty="0">
                  <a:solidFill>
                    <a:schemeClr val="tx2"/>
                  </a:solidFill>
                </a:rPr>
                <a:t>probability distribution</a:t>
              </a:r>
              <a:r>
                <a:rPr lang="en-US" sz="1600" dirty="0"/>
                <a:t>                             over the ranking space         the Consensus Ranking task consists in finding the ranking      that </a:t>
              </a:r>
              <a:r>
                <a:rPr lang="en-US" sz="1600" dirty="0">
                  <a:solidFill>
                    <a:schemeClr val="tx2"/>
                  </a:solidFill>
                </a:rPr>
                <a:t>best summarizes it</a:t>
              </a:r>
              <a:r>
                <a:rPr lang="en-US" sz="1600" dirty="0"/>
                <a:t>.</a:t>
              </a:r>
              <a:endParaRPr lang="en-US" sz="1600" b="1" u="sng" dirty="0"/>
            </a:p>
            <a:p>
              <a:pPr>
                <a:spcBef>
                  <a:spcPts val="1200"/>
                </a:spcBef>
              </a:pPr>
              <a:r>
                <a:rPr lang="en-US" sz="1600" b="1" u="sng" dirty="0" err="1"/>
                <a:t>Formalisation</a:t>
              </a:r>
              <a:r>
                <a:rPr lang="en-US" sz="1600" b="1" u="sng" dirty="0"/>
                <a:t> for </a:t>
              </a:r>
              <a:r>
                <a:rPr lang="en-US" sz="1600" b="1" u="sng" dirty="0" err="1"/>
                <a:t>Kemeny’s</a:t>
              </a:r>
              <a:r>
                <a:rPr lang="en-US" sz="1600" b="1" u="sng" dirty="0"/>
                <a:t> Consensus</a:t>
              </a:r>
            </a:p>
            <a:p>
              <a:r>
                <a:rPr lang="en-US" sz="1600" dirty="0" err="1"/>
                <a:t>Kemeny’s</a:t>
              </a:r>
              <a:r>
                <a:rPr lang="en-US" sz="1600" dirty="0"/>
                <a:t> consensus statistic is a function                                            solving</a:t>
              </a:r>
            </a:p>
            <a:p>
              <a:endParaRPr lang="en-US" sz="1600" dirty="0"/>
            </a:p>
            <a:p>
              <a:pPr>
                <a:spcBef>
                  <a:spcPts val="200"/>
                </a:spcBef>
              </a:pPr>
              <a:endParaRPr lang="en-US" sz="1600" dirty="0"/>
            </a:p>
            <a:p>
              <a:pPr>
                <a:spcBef>
                  <a:spcPts val="200"/>
                </a:spcBef>
              </a:pPr>
              <a:r>
                <a:rPr lang="en-US" sz="1600" dirty="0"/>
                <a:t>Its output is denoted by          and called </a:t>
              </a:r>
              <a:r>
                <a:rPr lang="en-US" sz="1600" dirty="0" err="1">
                  <a:solidFill>
                    <a:schemeClr val="tx2"/>
                  </a:solidFill>
                </a:rPr>
                <a:t>Kemeny’s</a:t>
              </a:r>
              <a:r>
                <a:rPr lang="en-US" sz="1600" dirty="0">
                  <a:solidFill>
                    <a:schemeClr val="tx2"/>
                  </a:solidFill>
                </a:rPr>
                <a:t> consensus.  </a:t>
              </a:r>
            </a:p>
          </p:txBody>
        </p:sp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2BEF5529-C86A-02EB-EC1B-DA1255935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00569" y="2875593"/>
              <a:ext cx="266700" cy="17780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Tableau 2">
                <a:extLst>
                  <a:ext uri="{FF2B5EF4-FFF2-40B4-BE49-F238E27FC236}">
                    <a16:creationId xmlns:a16="http://schemas.microsoft.com/office/drawing/2014/main" id="{36BC6760-D5FF-66EB-3CD5-01BDA52691C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803600464"/>
                  </p:ext>
                </p:extLst>
              </p:nvPr>
            </p:nvGraphicFramePr>
            <p:xfrm>
              <a:off x="8915014" y="2315007"/>
              <a:ext cx="1655648" cy="2219960"/>
            </p:xfrm>
            <a:graphic>
              <a:graphicData uri="http://schemas.openxmlformats.org/drawingml/2006/table">
                <a:tbl>
                  <a:tblPr firstRow="1" bandRow="1">
                    <a:tableStyleId>{F2DE63D5-997A-4646-A377-4702673A728D}</a:tableStyleId>
                  </a:tblPr>
                  <a:tblGrid>
                    <a:gridCol w="498732">
                      <a:extLst>
                        <a:ext uri="{9D8B030D-6E8A-4147-A177-3AD203B41FA5}">
                          <a16:colId xmlns:a16="http://schemas.microsoft.com/office/drawing/2014/main" val="3933230223"/>
                        </a:ext>
                      </a:extLst>
                    </a:gridCol>
                    <a:gridCol w="1156916">
                      <a:extLst>
                        <a:ext uri="{9D8B030D-6E8A-4147-A177-3AD203B41FA5}">
                          <a16:colId xmlns:a16="http://schemas.microsoft.com/office/drawing/2014/main" val="2175429142"/>
                        </a:ext>
                      </a:extLst>
                    </a:gridCol>
                  </a:tblGrid>
                  <a:tr h="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b="0" dirty="0">
                              <a:latin typeface="HurmeGeometricSans1 Regular" panose="020B0500020000000000" pitchFamily="34" charset="77"/>
                            </a:rPr>
                            <a:t>#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fr-FR" b="0" i="1" smtClean="0">
                                    <a:latin typeface="Cambria Math" panose="02040503050406030204" pitchFamily="18" charset="0"/>
                                  </a:rPr>
                                  <m:t>𝜎</m:t>
                                </m:r>
                              </m:oMath>
                            </m:oMathPara>
                          </a14:m>
                          <a:endParaRPr lang="fr-FR" b="0" dirty="0"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9092461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24753513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608179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10573971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64476271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885604398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Tableau 2">
                <a:extLst>
                  <a:ext uri="{FF2B5EF4-FFF2-40B4-BE49-F238E27FC236}">
                    <a16:creationId xmlns:a16="http://schemas.microsoft.com/office/drawing/2014/main" id="{36BC6760-D5FF-66EB-3CD5-01BDA52691C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803600464"/>
                  </p:ext>
                </p:extLst>
              </p:nvPr>
            </p:nvGraphicFramePr>
            <p:xfrm>
              <a:off x="8915014" y="2315007"/>
              <a:ext cx="1655648" cy="2219960"/>
            </p:xfrm>
            <a:graphic>
              <a:graphicData uri="http://schemas.openxmlformats.org/drawingml/2006/table">
                <a:tbl>
                  <a:tblPr firstRow="1" bandRow="1">
                    <a:tableStyleId>{F2DE63D5-997A-4646-A377-4702673A728D}</a:tableStyleId>
                  </a:tblPr>
                  <a:tblGrid>
                    <a:gridCol w="498732">
                      <a:extLst>
                        <a:ext uri="{9D8B030D-6E8A-4147-A177-3AD203B41FA5}">
                          <a16:colId xmlns:a16="http://schemas.microsoft.com/office/drawing/2014/main" val="3933230223"/>
                        </a:ext>
                      </a:extLst>
                    </a:gridCol>
                    <a:gridCol w="1156916">
                      <a:extLst>
                        <a:ext uri="{9D8B030D-6E8A-4147-A177-3AD203B41FA5}">
                          <a16:colId xmlns:a16="http://schemas.microsoft.com/office/drawing/2014/main" val="2175429142"/>
                        </a:ext>
                      </a:extLst>
                    </a:gridCol>
                  </a:tblGrid>
                  <a:tr h="36576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b="0" dirty="0">
                              <a:latin typeface="HurmeGeometricSans1 Regular" panose="020B0500020000000000" pitchFamily="34" charset="77"/>
                            </a:rPr>
                            <a:t>#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 anchor="ctr">
                        <a:blipFill>
                          <a:blip r:embed="rId4"/>
                          <a:stretch>
                            <a:fillRect l="-43478" t="-6897" b="-51724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9092461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24753513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608179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10573971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64476271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fr-FR" sz="1600" dirty="0">
                            <a:solidFill>
                              <a:schemeClr val="tx1">
                                <a:lumMod val="50000"/>
                                <a:lumOff val="50000"/>
                              </a:schemeClr>
                            </a:solidFill>
                            <a:latin typeface="HurmeGeometricSans1 Regular" panose="020B0500020000000000" pitchFamily="34" charset="77"/>
                          </a:endParaRP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885604398"/>
                      </a:ext>
                    </a:extLst>
                  </a:tr>
                </a:tbl>
              </a:graphicData>
            </a:graphic>
          </p:graphicFrame>
        </mc:Fallback>
      </mc:AlternateContent>
      <p:grpSp>
        <p:nvGrpSpPr>
          <p:cNvPr id="17" name="Groupe 16">
            <a:extLst>
              <a:ext uri="{FF2B5EF4-FFF2-40B4-BE49-F238E27FC236}">
                <a16:creationId xmlns:a16="http://schemas.microsoft.com/office/drawing/2014/main" id="{2D168961-7AEE-B146-ADFF-6532AE660FFF}"/>
              </a:ext>
            </a:extLst>
          </p:cNvPr>
          <p:cNvGrpSpPr/>
          <p:nvPr/>
        </p:nvGrpSpPr>
        <p:grpSpPr>
          <a:xfrm>
            <a:off x="9540110" y="2787923"/>
            <a:ext cx="838200" cy="1659449"/>
            <a:chOff x="8676760" y="2084473"/>
            <a:chExt cx="838200" cy="1659449"/>
          </a:xfrm>
        </p:grpSpPr>
        <p:pic>
          <p:nvPicPr>
            <p:cNvPr id="5" name="Image 4">
              <a:extLst>
                <a:ext uri="{FF2B5EF4-FFF2-40B4-BE49-F238E27FC236}">
                  <a16:creationId xmlns:a16="http://schemas.microsoft.com/office/drawing/2014/main" id="{AD6A6876-2301-7010-7761-B0DA149903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680510" y="2084473"/>
              <a:ext cx="825500" cy="152400"/>
            </a:xfrm>
            <a:prstGeom prst="rect">
              <a:avLst/>
            </a:prstGeom>
          </p:spPr>
        </p:pic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E7DF67BE-014F-B346-A73B-79B60CF30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676760" y="3196331"/>
              <a:ext cx="825500" cy="152400"/>
            </a:xfrm>
            <a:prstGeom prst="rect">
              <a:avLst/>
            </a:prstGeom>
          </p:spPr>
        </p:pic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06E3F035-AE60-451A-51A3-15E3885BC9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676760" y="3591522"/>
              <a:ext cx="825500" cy="152400"/>
            </a:xfrm>
            <a:prstGeom prst="rect">
              <a:avLst/>
            </a:prstGeom>
          </p:spPr>
        </p:pic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48B9DADE-16A3-03CC-FE17-4482D63CDF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676760" y="2477773"/>
              <a:ext cx="838200" cy="152400"/>
            </a:xfrm>
            <a:prstGeom prst="rect">
              <a:avLst/>
            </a:prstGeom>
          </p:spPr>
        </p:pic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F269F59A-A383-3EA9-E979-F81C908E7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76760" y="2835258"/>
              <a:ext cx="838200" cy="152400"/>
            </a:xfrm>
            <a:prstGeom prst="rect">
              <a:avLst/>
            </a:prstGeom>
          </p:spPr>
        </p:pic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3D67A89D-7B4A-0545-B6FD-AED54075F8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37309" y="3195125"/>
            <a:ext cx="203200" cy="17780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0384F47-9008-4D42-8238-01DAC92487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33408" y="3999615"/>
            <a:ext cx="1879600" cy="25400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7FD28FCD-38FB-BB47-B723-9DA14681A1C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54617" y="2886959"/>
            <a:ext cx="1206500" cy="254000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146990E0-384B-CF4D-86DA-5D3321A2986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34116" y="3999615"/>
            <a:ext cx="1320800" cy="254000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10C709C8-792D-FC4A-8087-FE175AA9982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59810" y="4497019"/>
            <a:ext cx="2971800" cy="317500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1826E3C4-D8B6-9844-A3D3-9AB5734C628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16015" y="4997987"/>
            <a:ext cx="279400" cy="241300"/>
          </a:xfrm>
          <a:prstGeom prst="rect">
            <a:avLst/>
          </a:prstGeom>
        </p:spPr>
      </p:pic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B6F2649A-523C-E24D-98EB-3706C9E8A563}"/>
              </a:ext>
            </a:extLst>
          </p:cNvPr>
          <p:cNvSpPr txBox="1">
            <a:spLocks/>
          </p:cNvSpPr>
          <p:nvPr/>
        </p:nvSpPr>
        <p:spPr>
          <a:xfrm>
            <a:off x="8234362" y="5689991"/>
            <a:ext cx="1963117" cy="458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Korba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7]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6331A16-9242-6944-9946-D6E0C57E6222}"/>
              </a:ext>
            </a:extLst>
          </p:cNvPr>
          <p:cNvSpPr txBox="1">
            <a:spLocks/>
          </p:cNvSpPr>
          <p:nvPr/>
        </p:nvSpPr>
        <p:spPr>
          <a:xfrm>
            <a:off x="463474" y="5418563"/>
            <a:ext cx="8015507" cy="8421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</a:pPr>
            <a:r>
              <a:rPr lang="en-US" sz="1600" u="sng" dirty="0"/>
              <a:t>Properties:</a:t>
            </a:r>
            <a:r>
              <a:rPr lang="en-US" sz="1600" dirty="0"/>
              <a:t> </a:t>
            </a:r>
            <a:r>
              <a:rPr lang="en-US" sz="1600" dirty="0" err="1"/>
              <a:t>Kemeny’s</a:t>
            </a:r>
            <a:r>
              <a:rPr lang="en-US" sz="1600" dirty="0"/>
              <a:t> consensus satisfies many useful properties (Condorcet Criterion, etc.)  but is NP-hard to compute, except when the underlying distribution is </a:t>
            </a:r>
            <a:r>
              <a:rPr lang="en-US" sz="1600" i="1" dirty="0"/>
              <a:t>Stochastically Transitive</a:t>
            </a:r>
            <a:endParaRPr lang="en-US" sz="1600" i="1" u="sng" dirty="0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7EB4C689-77F7-C74E-8673-AC12CD515B6A}"/>
              </a:ext>
            </a:extLst>
          </p:cNvPr>
          <p:cNvSpPr txBox="1">
            <a:spLocks/>
          </p:cNvSpPr>
          <p:nvPr/>
        </p:nvSpPr>
        <p:spPr>
          <a:xfrm>
            <a:off x="7989743" y="5414728"/>
            <a:ext cx="1963117" cy="458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Dwork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01]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D6C43732-3D4C-6248-BACD-B1B246A444D1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9800499" cy="16581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roblem: </a:t>
            </a:r>
            <a:r>
              <a:rPr lang="en-US" sz="1600" dirty="0"/>
              <a:t>being robust to poisoning attacks</a:t>
            </a:r>
          </a:p>
          <a:p>
            <a:pPr>
              <a:spcBef>
                <a:spcPts val="300"/>
              </a:spcBef>
            </a:pPr>
            <a:r>
              <a:rPr lang="en-US" sz="1600" dirty="0">
                <a:sym typeface="Wingdings" pitchFamily="2" charset="2"/>
              </a:rPr>
              <a:t>                   Which task model             is solving? 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5EF2B655-0842-6643-B79B-2D2AAB1B0C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199532" y="1623201"/>
            <a:ext cx="2057400" cy="215900"/>
          </a:xfrm>
          <a:prstGeom prst="rect">
            <a:avLst/>
          </a:prstGeom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5D249C34-A1A1-1A40-B4CC-F207DFDA38A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338205" y="1638510"/>
            <a:ext cx="2603500" cy="21590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7BF3CD0B-5E0D-C740-9013-C112AAD820D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78322" y="1954904"/>
            <a:ext cx="457200" cy="215900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8A8020BE-7E60-094A-9BA5-23FE1D7E7A5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183140" y="4486386"/>
            <a:ext cx="673100" cy="215900"/>
          </a:xfrm>
          <a:prstGeom prst="rect">
            <a:avLst/>
          </a:prstGeom>
        </p:spPr>
      </p:pic>
      <p:grpSp>
        <p:nvGrpSpPr>
          <p:cNvPr id="54" name="Groupe 53">
            <a:extLst>
              <a:ext uri="{FF2B5EF4-FFF2-40B4-BE49-F238E27FC236}">
                <a16:creationId xmlns:a16="http://schemas.microsoft.com/office/drawing/2014/main" id="{91123C90-75A7-BE43-85E7-0D47B8A1D067}"/>
              </a:ext>
            </a:extLst>
          </p:cNvPr>
          <p:cNvGrpSpPr/>
          <p:nvPr/>
        </p:nvGrpSpPr>
        <p:grpSpPr>
          <a:xfrm>
            <a:off x="4560415" y="4688651"/>
            <a:ext cx="2667912" cy="215900"/>
            <a:chOff x="4560415" y="4970003"/>
            <a:chExt cx="2667912" cy="215900"/>
          </a:xfrm>
        </p:grpSpPr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EBBBD6A5-24E8-DD4C-B173-05AB7FDDE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6034527" y="4970003"/>
              <a:ext cx="1193800" cy="215900"/>
            </a:xfrm>
            <a:prstGeom prst="rect">
              <a:avLst/>
            </a:prstGeom>
          </p:spPr>
        </p:pic>
        <p:grpSp>
          <p:nvGrpSpPr>
            <p:cNvPr id="53" name="Groupe 52">
              <a:extLst>
                <a:ext uri="{FF2B5EF4-FFF2-40B4-BE49-F238E27FC236}">
                  <a16:creationId xmlns:a16="http://schemas.microsoft.com/office/drawing/2014/main" id="{63E30EDD-A5AA-844B-951C-B48E2163AF1C}"/>
                </a:ext>
              </a:extLst>
            </p:cNvPr>
            <p:cNvGrpSpPr/>
            <p:nvPr/>
          </p:nvGrpSpPr>
          <p:grpSpPr>
            <a:xfrm>
              <a:off x="4560415" y="4983637"/>
              <a:ext cx="1361670" cy="92724"/>
              <a:chOff x="4560415" y="4983637"/>
              <a:chExt cx="1361670" cy="92724"/>
            </a:xfrm>
          </p:grpSpPr>
          <p:cxnSp>
            <p:nvCxnSpPr>
              <p:cNvPr id="30" name="Connecteur droit 29">
                <a:extLst>
                  <a:ext uri="{FF2B5EF4-FFF2-40B4-BE49-F238E27FC236}">
                    <a16:creationId xmlns:a16="http://schemas.microsoft.com/office/drawing/2014/main" id="{5412D9B7-A018-C24F-B655-DE3500B21D0C}"/>
                  </a:ext>
                </a:extLst>
              </p:cNvPr>
              <p:cNvCxnSpPr/>
              <p:nvPr/>
            </p:nvCxnSpPr>
            <p:spPr>
              <a:xfrm>
                <a:off x="4565403" y="5076361"/>
                <a:ext cx="1356682" cy="0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necteur droit 41">
                <a:extLst>
                  <a:ext uri="{FF2B5EF4-FFF2-40B4-BE49-F238E27FC236}">
                    <a16:creationId xmlns:a16="http://schemas.microsoft.com/office/drawing/2014/main" id="{6DF8E994-F204-7E49-B9DF-E1B70EC483F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60415" y="4983638"/>
                <a:ext cx="0" cy="92723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Connecteur droit 51">
                <a:extLst>
                  <a:ext uri="{FF2B5EF4-FFF2-40B4-BE49-F238E27FC236}">
                    <a16:creationId xmlns:a16="http://schemas.microsoft.com/office/drawing/2014/main" id="{B72D379E-42FD-8642-9CCD-1F8292191FB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22085" y="4983637"/>
                <a:ext cx="0" cy="92723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687651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2"/>
            <a:ext cx="10208027" cy="584776"/>
          </a:xfrm>
        </p:spPr>
        <p:txBody>
          <a:bodyPr>
            <a:normAutofit/>
          </a:bodyPr>
          <a:lstStyle/>
          <a:p>
            <a:r>
              <a:rPr lang="en-US" sz="3200" dirty="0"/>
              <a:t>Classical Methods in Statistical Robustness</a:t>
            </a:r>
            <a:endParaRPr lang="en-GB" sz="3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A50BE4-118F-45E2-A27D-4DB48AD15F1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006705" y="3593481"/>
            <a:ext cx="2882241" cy="222504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ym typeface="Wingdings" pitchFamily="2" charset="2"/>
              </a:rPr>
              <a:t>Mean = 68.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Median</a:t>
            </a:r>
            <a:r>
              <a:rPr lang="en-US" sz="1600" dirty="0">
                <a:sym typeface="Wingdings" pitchFamily="2" charset="2"/>
              </a:rPr>
              <a:t> = 11</a:t>
            </a:r>
            <a:endParaRPr lang="en-US" sz="1600" dirty="0">
              <a:solidFill>
                <a:schemeClr val="tx2"/>
              </a:solidFill>
              <a:sym typeface="Wingdings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Trimmed mean </a:t>
            </a:r>
            <a:r>
              <a:rPr lang="en-US" sz="1600" dirty="0">
                <a:sym typeface="Wingdings" pitchFamily="2" charset="2"/>
              </a:rPr>
              <a:t>= 10,5</a:t>
            </a:r>
          </a:p>
          <a:p>
            <a:endParaRPr lang="en-US" sz="1600" dirty="0">
              <a:sym typeface="Wingdings" pitchFamily="2" charset="2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leau 6">
                <a:extLst>
                  <a:ext uri="{FF2B5EF4-FFF2-40B4-BE49-F238E27FC236}">
                    <a16:creationId xmlns:a16="http://schemas.microsoft.com/office/drawing/2014/main" id="{30E103D5-217C-DA42-AC8A-2EE81B12664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33999190"/>
                  </p:ext>
                </p:extLst>
              </p:nvPr>
            </p:nvGraphicFramePr>
            <p:xfrm>
              <a:off x="561571" y="3604196"/>
              <a:ext cx="1392860" cy="2225040"/>
            </p:xfrm>
            <a:graphic>
              <a:graphicData uri="http://schemas.openxmlformats.org/drawingml/2006/table">
                <a:tbl>
                  <a:tblPr firstRow="1" bandRow="1">
                    <a:tableStyleId>{F2DE63D5-997A-4646-A377-4702673A728D}</a:tableStyleId>
                  </a:tblPr>
                  <a:tblGrid>
                    <a:gridCol w="453856">
                      <a:extLst>
                        <a:ext uri="{9D8B030D-6E8A-4147-A177-3AD203B41FA5}">
                          <a16:colId xmlns:a16="http://schemas.microsoft.com/office/drawing/2014/main" val="2175429142"/>
                        </a:ext>
                      </a:extLst>
                    </a:gridCol>
                    <a:gridCol w="939004">
                      <a:extLst>
                        <a:ext uri="{9D8B030D-6E8A-4147-A177-3AD203B41FA5}">
                          <a16:colId xmlns:a16="http://schemas.microsoft.com/office/drawing/2014/main" val="19067866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b="0" dirty="0">
                              <a:latin typeface="HurmeGeometricSans1 Regular" panose="020B0500020000000000" pitchFamily="34" charset="77"/>
                            </a:rPr>
                            <a:t>Id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 xmlns:m="http://schemas.openxmlformats.org/officeDocument/2006/math">
                              <m:r>
                                <a:rPr lang="fr-FR" b="0" i="1" dirty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ℝ</m:t>
                              </m:r>
                            </m:oMath>
                          </a14:m>
                          <a:r>
                            <a:rPr lang="fr-FR" b="0" i="0" dirty="0">
                              <a:latin typeface="HurmeGeometricSans1 Regular" panose="020B0500020000000000" pitchFamily="34" charset="77"/>
                            </a:rPr>
                            <a:t> data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9092461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10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24753513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12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608179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301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10573971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9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7654713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11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50344217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leau 6">
                <a:extLst>
                  <a:ext uri="{FF2B5EF4-FFF2-40B4-BE49-F238E27FC236}">
                    <a16:creationId xmlns:a16="http://schemas.microsoft.com/office/drawing/2014/main" id="{30E103D5-217C-DA42-AC8A-2EE81B12664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33999190"/>
                  </p:ext>
                </p:extLst>
              </p:nvPr>
            </p:nvGraphicFramePr>
            <p:xfrm>
              <a:off x="561571" y="3604196"/>
              <a:ext cx="1392860" cy="2225040"/>
            </p:xfrm>
            <a:graphic>
              <a:graphicData uri="http://schemas.openxmlformats.org/drawingml/2006/table">
                <a:tbl>
                  <a:tblPr firstRow="1" bandRow="1">
                    <a:tableStyleId>{F2DE63D5-997A-4646-A377-4702673A728D}</a:tableStyleId>
                  </a:tblPr>
                  <a:tblGrid>
                    <a:gridCol w="453856">
                      <a:extLst>
                        <a:ext uri="{9D8B030D-6E8A-4147-A177-3AD203B41FA5}">
                          <a16:colId xmlns:a16="http://schemas.microsoft.com/office/drawing/2014/main" val="2175429142"/>
                        </a:ext>
                      </a:extLst>
                    </a:gridCol>
                    <a:gridCol w="939004">
                      <a:extLst>
                        <a:ext uri="{9D8B030D-6E8A-4147-A177-3AD203B41FA5}">
                          <a16:colId xmlns:a16="http://schemas.microsoft.com/office/drawing/2014/main" val="190678668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b="0" dirty="0">
                              <a:latin typeface="HurmeGeometricSans1 Regular" panose="020B0500020000000000" pitchFamily="34" charset="77"/>
                            </a:rPr>
                            <a:t>Id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fr-FR"/>
                        </a:p>
                      </a:txBody>
                      <a:tcPr anchor="ctr">
                        <a:blipFill>
                          <a:blip r:embed="rId2"/>
                          <a:stretch>
                            <a:fillRect l="-50000" t="-6897" b="-52069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9092461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10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24753513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12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86081790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301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410573971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4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9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7654713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HurmeGeometricSans1 Regular" panose="020B0500020000000000" pitchFamily="34" charset="77"/>
                            </a:rPr>
                            <a:t>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FR" sz="1600" dirty="0">
                              <a:solidFill>
                                <a:schemeClr val="tx1"/>
                              </a:solidFill>
                              <a:latin typeface="HurmeGeometricSans1 Regular" panose="020B0500020000000000" pitchFamily="34" charset="77"/>
                            </a:rPr>
                            <a:t>11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503442172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5FF293E-71E2-F647-9376-BC05CAF39B70}"/>
              </a:ext>
            </a:extLst>
          </p:cNvPr>
          <p:cNvSpPr txBox="1">
            <a:spLocks/>
          </p:cNvSpPr>
          <p:nvPr/>
        </p:nvSpPr>
        <p:spPr>
          <a:xfrm>
            <a:off x="4599692" y="3987423"/>
            <a:ext cx="1891023" cy="14356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ym typeface="Wingdings" pitchFamily="2" charset="2"/>
            </a:endParaRPr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C7204EB-FB2B-484A-2774-9351ED9361FC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Robustness Concepts </a:t>
            </a:r>
            <a:r>
              <a:rPr lang="en-US" sz="1800" b="1">
                <a:latin typeface="Hurme Geometric Sans 4 SemiBold" panose="020B0A00020000000000" pitchFamily="34" charset="77"/>
                <a:sym typeface="Wingdings" pitchFamily="2" charset="2"/>
              </a:rPr>
              <a:t>and Principles</a:t>
            </a:r>
            <a:endParaRPr lang="en-US" sz="1800" b="1" dirty="0">
              <a:latin typeface="Hurme Geometric Sans 4 SemiBold" panose="020B0A00020000000000" pitchFamily="34" charset="77"/>
              <a:sym typeface="Wingdings" pitchFamily="2" charset="2"/>
            </a:endParaRP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7C504640-1B7D-2482-1E37-71F686894C56}"/>
              </a:ext>
            </a:extLst>
          </p:cNvPr>
          <p:cNvCxnSpPr>
            <a:cxnSpLocks/>
          </p:cNvCxnSpPr>
          <p:nvPr/>
        </p:nvCxnSpPr>
        <p:spPr>
          <a:xfrm>
            <a:off x="4863054" y="2877385"/>
            <a:ext cx="0" cy="328659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BB1E764-C981-5FB0-5529-39E9AA1BB4A4}"/>
              </a:ext>
            </a:extLst>
          </p:cNvPr>
          <p:cNvSpPr txBox="1">
            <a:spLocks/>
          </p:cNvSpPr>
          <p:nvPr/>
        </p:nvSpPr>
        <p:spPr>
          <a:xfrm>
            <a:off x="464453" y="2486782"/>
            <a:ext cx="4135240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Robust Statistics:</a:t>
            </a:r>
            <a:endParaRPr lang="en-US" sz="1600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695B1E-BD73-068A-BAAE-B0555B5242EF}"/>
              </a:ext>
            </a:extLst>
          </p:cNvPr>
          <p:cNvSpPr txBox="1">
            <a:spLocks/>
          </p:cNvSpPr>
          <p:nvPr/>
        </p:nvSpPr>
        <p:spPr>
          <a:xfrm>
            <a:off x="4938946" y="2490174"/>
            <a:ext cx="4135240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Evaluation:</a:t>
            </a:r>
            <a:endParaRPr lang="en-US" sz="1600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2D6E69-542F-E604-22A0-5BEF49184FBA}"/>
              </a:ext>
            </a:extLst>
          </p:cNvPr>
          <p:cNvSpPr txBox="1">
            <a:spLocks/>
          </p:cNvSpPr>
          <p:nvPr/>
        </p:nvSpPr>
        <p:spPr>
          <a:xfrm>
            <a:off x="4932184" y="2888100"/>
            <a:ext cx="5347490" cy="32758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2"/>
              </a:solidFill>
              <a:sym typeface="Wingdings" pitchFamily="2" charset="2"/>
            </a:endParaRPr>
          </a:p>
          <a:p>
            <a:endParaRPr lang="en-US" dirty="0">
              <a:solidFill>
                <a:schemeClr val="tx2"/>
              </a:solidFill>
              <a:sym typeface="Wingdings" pitchFamily="2" charset="2"/>
            </a:endParaRPr>
          </a:p>
          <a:p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Breakdown Function: </a:t>
            </a:r>
            <a:r>
              <a:rPr lang="en-US" sz="1600" dirty="0">
                <a:sym typeface="Wingdings" pitchFamily="2" charset="2"/>
              </a:rPr>
              <a:t>The minimal amount of </a:t>
            </a:r>
            <a:r>
              <a:rPr lang="en-US" sz="1600" u="sng" dirty="0">
                <a:solidFill>
                  <a:schemeClr val="accent2">
                    <a:lumMod val="60000"/>
                    <a:lumOff val="40000"/>
                  </a:schemeClr>
                </a:solidFill>
                <a:sym typeface="Wingdings" pitchFamily="2" charset="2"/>
              </a:rPr>
              <a:t>budget</a:t>
            </a:r>
            <a:r>
              <a:rPr lang="en-US" sz="1600" dirty="0">
                <a:sym typeface="Wingdings" pitchFamily="2" charset="2"/>
              </a:rPr>
              <a:t> required to </a:t>
            </a:r>
            <a:r>
              <a:rPr lang="en-US" sz="1600" u="sng" dirty="0">
                <a:solidFill>
                  <a:schemeClr val="accent4">
                    <a:lumMod val="50000"/>
                  </a:schemeClr>
                </a:solidFill>
                <a:sym typeface="Wingdings" pitchFamily="2" charset="2"/>
              </a:rPr>
              <a:t>fool</a:t>
            </a:r>
            <a:r>
              <a:rPr lang="en-US" sz="1600" dirty="0">
                <a:sym typeface="Wingdings" pitchFamily="2" charset="2"/>
              </a:rPr>
              <a:t> the statistic       for distribution  </a:t>
            </a:r>
          </a:p>
          <a:p>
            <a:pPr marL="742939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  <a:sym typeface="Wingdings" pitchFamily="2" charset="2"/>
              </a:rPr>
              <a:t>Budget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: difference between the original distribution and the “attack” distribution measured by      (e.g. total-variation, Wasserstein)</a:t>
            </a:r>
          </a:p>
          <a:p>
            <a:pPr marL="742939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accent4">
                    <a:lumMod val="50000"/>
                  </a:schemeClr>
                </a:solidFill>
                <a:sym typeface="Wingdings" pitchFamily="2" charset="2"/>
              </a:rPr>
              <a:t>Fool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: change the output of the statistics by an amount of at least     measured using another distance    </a:t>
            </a:r>
          </a:p>
          <a:p>
            <a:endParaRPr lang="en-US" dirty="0">
              <a:sym typeface="Wingdings" pitchFamily="2" charset="2"/>
            </a:endParaRPr>
          </a:p>
          <a:p>
            <a:endParaRPr lang="en-US" dirty="0">
              <a:solidFill>
                <a:schemeClr val="tx1"/>
              </a:solidFill>
              <a:sym typeface="Wingdings" pitchFamily="2" charset="2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B896F05C-5B65-367D-26BA-F8BC5C2BE4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7765" y="2888857"/>
            <a:ext cx="5257800" cy="62230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1727716D-36BD-8472-6690-A448E828CC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66814" y="4677633"/>
            <a:ext cx="177800" cy="101600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1BED157F-4C4C-6FEC-31D7-014E091563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09719" y="5873364"/>
            <a:ext cx="114300" cy="165100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DCE41151-9AA7-225E-D45A-38DF5B6923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48486" y="5573647"/>
            <a:ext cx="101600" cy="165100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F02F50C9-9C38-611F-E041-8DF92141E7C3}"/>
              </a:ext>
            </a:extLst>
          </p:cNvPr>
          <p:cNvSpPr txBox="1">
            <a:spLocks/>
          </p:cNvSpPr>
          <p:nvPr/>
        </p:nvSpPr>
        <p:spPr>
          <a:xfrm>
            <a:off x="464452" y="3008082"/>
            <a:ext cx="1214481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ym typeface="Wingdings" pitchFamily="2" charset="2"/>
              </a:rPr>
              <a:t>Statistic: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8D18AF8-9B17-CF53-04B1-0D4AE971AC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9306" y="3962787"/>
            <a:ext cx="152400" cy="1524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CB7D1E8-1AAE-4795-2538-26B44B34C3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81344" y="3965834"/>
            <a:ext cx="152400" cy="15240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05FEAF1E-7B5C-484D-9BFE-076E8F768745}"/>
              </a:ext>
            </a:extLst>
          </p:cNvPr>
          <p:cNvSpPr/>
          <p:nvPr/>
        </p:nvSpPr>
        <p:spPr>
          <a:xfrm>
            <a:off x="5491552" y="3127470"/>
            <a:ext cx="197441" cy="162776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563AD90-9F53-A247-A26E-6C63BDEB7210}"/>
              </a:ext>
            </a:extLst>
          </p:cNvPr>
          <p:cNvSpPr/>
          <p:nvPr/>
        </p:nvSpPr>
        <p:spPr>
          <a:xfrm>
            <a:off x="6824241" y="3127470"/>
            <a:ext cx="144795" cy="162776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F802DEE-2B0C-7E41-8C9D-B8D7A8A83B06}"/>
              </a:ext>
            </a:extLst>
          </p:cNvPr>
          <p:cNvSpPr/>
          <p:nvPr/>
        </p:nvSpPr>
        <p:spPr>
          <a:xfrm>
            <a:off x="7688002" y="3335889"/>
            <a:ext cx="180319" cy="131618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486DC8C-3869-564E-A4C3-A778451391B8}"/>
              </a:ext>
            </a:extLst>
          </p:cNvPr>
          <p:cNvSpPr/>
          <p:nvPr/>
        </p:nvSpPr>
        <p:spPr>
          <a:xfrm>
            <a:off x="8379469" y="3331099"/>
            <a:ext cx="90160" cy="131618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EE253A9-1316-1C41-8A87-EC2A187766EB}"/>
              </a:ext>
            </a:extLst>
          </p:cNvPr>
          <p:cNvSpPr/>
          <p:nvPr/>
        </p:nvSpPr>
        <p:spPr>
          <a:xfrm>
            <a:off x="9259499" y="4642643"/>
            <a:ext cx="197441" cy="162776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D949EA7-BDC7-264D-949E-9EBA61A0029C}"/>
              </a:ext>
            </a:extLst>
          </p:cNvPr>
          <p:cNvSpPr/>
          <p:nvPr/>
        </p:nvSpPr>
        <p:spPr>
          <a:xfrm>
            <a:off x="8474201" y="3086394"/>
            <a:ext cx="146836" cy="211985"/>
          </a:xfrm>
          <a:prstGeom prst="rect">
            <a:avLst/>
          </a:prstGeom>
          <a:solidFill>
            <a:schemeClr val="accent4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7E44D21-91CA-6A49-BA50-5319B838FBD3}"/>
              </a:ext>
            </a:extLst>
          </p:cNvPr>
          <p:cNvSpPr/>
          <p:nvPr/>
        </p:nvSpPr>
        <p:spPr>
          <a:xfrm>
            <a:off x="10016489" y="3083364"/>
            <a:ext cx="146836" cy="211985"/>
          </a:xfrm>
          <a:prstGeom prst="rect">
            <a:avLst/>
          </a:prstGeom>
          <a:solidFill>
            <a:schemeClr val="accent4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AC60FD3-6653-0148-B2EC-7B4E79F897EC}"/>
              </a:ext>
            </a:extLst>
          </p:cNvPr>
          <p:cNvSpPr/>
          <p:nvPr/>
        </p:nvSpPr>
        <p:spPr>
          <a:xfrm>
            <a:off x="7313363" y="5560796"/>
            <a:ext cx="146836" cy="211985"/>
          </a:xfrm>
          <a:prstGeom prst="rect">
            <a:avLst/>
          </a:prstGeom>
          <a:solidFill>
            <a:schemeClr val="accent4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B1A7453-DA72-B04A-B472-DCEFE7D7AA2F}"/>
              </a:ext>
            </a:extLst>
          </p:cNvPr>
          <p:cNvSpPr/>
          <p:nvPr/>
        </p:nvSpPr>
        <p:spPr>
          <a:xfrm>
            <a:off x="6493451" y="5868895"/>
            <a:ext cx="146836" cy="211985"/>
          </a:xfrm>
          <a:prstGeom prst="rect">
            <a:avLst/>
          </a:prstGeom>
          <a:solidFill>
            <a:schemeClr val="accent4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7FB78931-760D-1D48-A45E-C5E2D881AA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40647" y="3101683"/>
            <a:ext cx="1993900" cy="254000"/>
          </a:xfrm>
          <a:prstGeom prst="rect">
            <a:avLst/>
          </a:prstGeom>
        </p:spPr>
      </p:pic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159B6228-0D1D-204C-8C3F-3C76A11D8E4F}"/>
              </a:ext>
            </a:extLst>
          </p:cNvPr>
          <p:cNvSpPr txBox="1">
            <a:spLocks/>
          </p:cNvSpPr>
          <p:nvPr/>
        </p:nvSpPr>
        <p:spPr>
          <a:xfrm>
            <a:off x="5980311" y="2491145"/>
            <a:ext cx="1469775" cy="458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Huber, 1964]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16CFF3EE-1D14-8A4F-ADD3-F6BB822571D6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9800499" cy="16581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roblem: </a:t>
            </a:r>
            <a:r>
              <a:rPr lang="en-US" sz="1600" dirty="0"/>
              <a:t>being robust to poisoning attacks</a:t>
            </a:r>
          </a:p>
          <a:p>
            <a:pPr>
              <a:spcBef>
                <a:spcPts val="300"/>
              </a:spcBef>
            </a:pPr>
            <a:r>
              <a:rPr lang="en-US" sz="1600" dirty="0">
                <a:sym typeface="Wingdings" pitchFamily="2" charset="2"/>
              </a:rPr>
              <a:t>                   On the “defense” side, how do we measure robustness of a statistic               ? 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AF20D529-1C1E-F544-B6A8-BFF8328E3DE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99532" y="1623201"/>
            <a:ext cx="2057400" cy="215900"/>
          </a:xfrm>
          <a:prstGeom prst="rect">
            <a:avLst/>
          </a:prstGeom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FC657DA2-C7EC-AD47-981F-A77010E1854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38205" y="1638510"/>
            <a:ext cx="2603500" cy="21590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29ECC8CA-BB5F-6C40-96E4-5E7E90FBFA4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57799" y="1979592"/>
            <a:ext cx="57150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142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2"/>
            <a:ext cx="10208027" cy="584776"/>
          </a:xfrm>
        </p:spPr>
        <p:txBody>
          <a:bodyPr>
            <a:normAutofit/>
          </a:bodyPr>
          <a:lstStyle/>
          <a:p>
            <a:r>
              <a:rPr lang="en-US" sz="3200" dirty="0"/>
              <a:t>Evaluating the Robustness of Consensus Rankings</a:t>
            </a:r>
            <a:endParaRPr lang="en-GB" sz="3200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5FF293E-71E2-F647-9376-BC05CAF39B70}"/>
              </a:ext>
            </a:extLst>
          </p:cNvPr>
          <p:cNvSpPr txBox="1">
            <a:spLocks/>
          </p:cNvSpPr>
          <p:nvPr/>
        </p:nvSpPr>
        <p:spPr>
          <a:xfrm>
            <a:off x="5763482" y="3372477"/>
            <a:ext cx="1891023" cy="14356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ym typeface="Wingdings" pitchFamily="2" charset="2"/>
            </a:endParaRPr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C7204EB-FB2B-484A-2774-9351ED9361FC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7224181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Evaluating the Breakdown Functions – Theoretical Bounds 1/2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2D6E69-542F-E604-22A0-5BEF49184FBA}"/>
              </a:ext>
            </a:extLst>
          </p:cNvPr>
          <p:cNvSpPr txBox="1">
            <a:spLocks/>
          </p:cNvSpPr>
          <p:nvPr/>
        </p:nvSpPr>
        <p:spPr>
          <a:xfrm>
            <a:off x="1628242" y="1717567"/>
            <a:ext cx="7279101" cy="32758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Theorem – Upper Bound for Kendall-Tau </a:t>
            </a:r>
          </a:p>
          <a:p>
            <a:endParaRPr lang="en-US" sz="1600" dirty="0">
              <a:solidFill>
                <a:schemeClr val="tx2"/>
              </a:solidFill>
              <a:sym typeface="Wingdings" pitchFamily="2" charset="2"/>
            </a:endParaRPr>
          </a:p>
          <a:p>
            <a:endParaRPr lang="en-US" sz="1600" dirty="0">
              <a:solidFill>
                <a:schemeClr val="tx2"/>
              </a:solidFill>
              <a:sym typeface="Wingdings" pitchFamily="2" charset="2"/>
            </a:endParaRPr>
          </a:p>
          <a:p>
            <a:endParaRPr lang="en-US" sz="1600" dirty="0">
              <a:solidFill>
                <a:schemeClr val="tx2"/>
              </a:solidFill>
              <a:sym typeface="Wingdings" pitchFamily="2" charset="2"/>
            </a:endParaRPr>
          </a:p>
          <a:p>
            <a:endParaRPr lang="en-US" sz="1600" dirty="0">
              <a:solidFill>
                <a:schemeClr val="tx2"/>
              </a:solidFill>
              <a:sym typeface="Wingdings" pitchFamily="2" charset="2"/>
            </a:endParaRPr>
          </a:p>
          <a:p>
            <a:endParaRPr lang="en-US" sz="1600" dirty="0">
              <a:solidFill>
                <a:schemeClr val="tx2"/>
              </a:solidFill>
              <a:sym typeface="Wingdings" pitchFamily="2" charset="2"/>
            </a:endParaRPr>
          </a:p>
          <a:p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Theorem – Lower Bound for all distances</a:t>
            </a:r>
          </a:p>
          <a:p>
            <a:endParaRPr lang="en-US" sz="1600" dirty="0">
              <a:solidFill>
                <a:schemeClr val="tx2"/>
              </a:solidFill>
              <a:sym typeface="Wingdings" pitchFamily="2" charset="2"/>
            </a:endParaRPr>
          </a:p>
          <a:p>
            <a:endParaRPr lang="en-US" sz="1600" dirty="0">
              <a:sym typeface="Wingdings" pitchFamily="2" charset="2"/>
            </a:endParaRPr>
          </a:p>
          <a:p>
            <a:pPr>
              <a:spcAft>
                <a:spcPts val="600"/>
              </a:spcAft>
            </a:pPr>
            <a:endParaRPr lang="en-US" dirty="0">
              <a:solidFill>
                <a:schemeClr val="tx1"/>
              </a:solidFill>
              <a:sym typeface="Wingdings" pitchFamily="2" charset="2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3BCFCDF-7FAC-DF45-9957-6CF3AF7E2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7698" y="2144972"/>
            <a:ext cx="7772400" cy="2667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2810DB6-2737-AF40-8F4D-A99153019B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7698" y="2564941"/>
            <a:ext cx="5092700" cy="2286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5D30106-FEAA-4F4E-8964-B17BBE206A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10386" y="3044355"/>
            <a:ext cx="4953000" cy="6223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05C3985-A7C5-C144-BEE9-D9012F00D3D6}"/>
              </a:ext>
            </a:extLst>
          </p:cNvPr>
          <p:cNvSpPr/>
          <p:nvPr/>
        </p:nvSpPr>
        <p:spPr>
          <a:xfrm>
            <a:off x="1628242" y="1757188"/>
            <a:ext cx="8117289" cy="199715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D0F7C63-D7A0-3F41-A3B6-E190304559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7698" y="4332677"/>
            <a:ext cx="7289800" cy="25400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6E5C0032-62D1-A14F-964A-F0D56A99553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496" t="-15794"/>
          <a:stretch/>
        </p:blipFill>
        <p:spPr>
          <a:xfrm>
            <a:off x="1727866" y="4565481"/>
            <a:ext cx="3183833" cy="235293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EEED4EE1-ECF1-8840-9286-05C500A6419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90863" b="-3910"/>
          <a:stretch/>
        </p:blipFill>
        <p:spPr>
          <a:xfrm>
            <a:off x="9113454" y="4360542"/>
            <a:ext cx="321424" cy="211145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75FE672A-CD13-CC4B-8CCB-8701EE65FFD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27866" y="4962128"/>
            <a:ext cx="2984500" cy="21590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407ACCBA-C7D2-D745-8337-E3C8DA3B4B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10386" y="5413956"/>
            <a:ext cx="4432300" cy="6223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B583083-1516-A94C-8082-71C866689AEB}"/>
              </a:ext>
            </a:extLst>
          </p:cNvPr>
          <p:cNvSpPr/>
          <p:nvPr/>
        </p:nvSpPr>
        <p:spPr>
          <a:xfrm>
            <a:off x="1628242" y="3963548"/>
            <a:ext cx="8117289" cy="21867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BD20809D-2CE3-E149-8E6D-D234CDE0D2BB}"/>
              </a:ext>
            </a:extLst>
          </p:cNvPr>
          <p:cNvSpPr txBox="1">
            <a:spLocks/>
          </p:cNvSpPr>
          <p:nvPr/>
        </p:nvSpPr>
        <p:spPr>
          <a:xfrm>
            <a:off x="5935951" y="1713210"/>
            <a:ext cx="4272496" cy="458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MG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alauzènes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Irurozki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lémençon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2023]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586487B-6494-8E4F-B741-7621E62FF015}"/>
              </a:ext>
            </a:extLst>
          </p:cNvPr>
          <p:cNvSpPr txBox="1">
            <a:spLocks/>
          </p:cNvSpPr>
          <p:nvPr/>
        </p:nvSpPr>
        <p:spPr>
          <a:xfrm>
            <a:off x="5935951" y="3930261"/>
            <a:ext cx="4272496" cy="458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MG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alauzènes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Irurozki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lémençon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2023]</a:t>
            </a:r>
          </a:p>
        </p:txBody>
      </p:sp>
    </p:spTree>
    <p:extLst>
      <p:ext uri="{BB962C8B-B14F-4D97-AF65-F5344CB8AC3E}">
        <p14:creationId xmlns:p14="http://schemas.microsoft.com/office/powerpoint/2010/main" val="30148977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2"/>
            <a:ext cx="10208027" cy="584776"/>
          </a:xfrm>
        </p:spPr>
        <p:txBody>
          <a:bodyPr>
            <a:normAutofit/>
          </a:bodyPr>
          <a:lstStyle/>
          <a:p>
            <a:r>
              <a:rPr lang="en-US" sz="3200" dirty="0"/>
              <a:t>Evaluating the Robustness of Consensus Rankings</a:t>
            </a:r>
            <a:endParaRPr lang="en-GB" sz="3200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5FF293E-71E2-F647-9376-BC05CAF39B70}"/>
              </a:ext>
            </a:extLst>
          </p:cNvPr>
          <p:cNvSpPr txBox="1">
            <a:spLocks/>
          </p:cNvSpPr>
          <p:nvPr/>
        </p:nvSpPr>
        <p:spPr>
          <a:xfrm>
            <a:off x="4599692" y="3447633"/>
            <a:ext cx="1891023" cy="14356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ym typeface="Wingdings" pitchFamily="2" charset="2"/>
            </a:endParaRPr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C7204EB-FB2B-484A-2774-9351ED9361FC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7224181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Evaluating the Breakdown Functions – Theoretical Bounds 2/2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BB1E764-C981-5FB0-5529-39E9AA1BB4A4}"/>
              </a:ext>
            </a:extLst>
          </p:cNvPr>
          <p:cNvSpPr txBox="1">
            <a:spLocks/>
          </p:cNvSpPr>
          <p:nvPr/>
        </p:nvSpPr>
        <p:spPr>
          <a:xfrm>
            <a:off x="464453" y="1801852"/>
            <a:ext cx="4135240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Sketch of proof:</a:t>
            </a:r>
            <a:endParaRPr lang="en-US" sz="1600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2D6E69-542F-E604-22A0-5BEF49184FBA}"/>
              </a:ext>
            </a:extLst>
          </p:cNvPr>
          <p:cNvSpPr txBox="1">
            <a:spLocks/>
          </p:cNvSpPr>
          <p:nvPr/>
        </p:nvSpPr>
        <p:spPr>
          <a:xfrm>
            <a:off x="464452" y="2348310"/>
            <a:ext cx="9841113" cy="32758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ym typeface="Wingdings" pitchFamily="2" charset="2"/>
              </a:rPr>
              <a:t>The upper-bound proof relies on showing that for            , the attack distribution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is a valid attack according to the definition of the breakdown function.</a:t>
            </a:r>
          </a:p>
          <a:p>
            <a:r>
              <a:rPr lang="en-US" sz="1600" dirty="0">
                <a:sym typeface="Wingdings" pitchFamily="2" charset="2"/>
              </a:rPr>
              <a:t>The rest of the proof for the upper-bound and the lower-bound comes from computation leveraging matrix notations.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402B555F-E1CE-CD71-FC27-11F17BEA5B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8751" y="3965278"/>
            <a:ext cx="3817805" cy="2290683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9A623480-0213-CF84-5E20-02F16E73F7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5873" y="3965277"/>
            <a:ext cx="3817805" cy="229068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559A8DD-FBF8-D746-9833-95970B459C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9740" y="2461583"/>
            <a:ext cx="469900" cy="1524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501178EA-7BC2-3542-B988-EE50A7BE8C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8408" y="2388508"/>
            <a:ext cx="269240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81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C50462A1-1081-1D4C-A190-F776629722E9}"/>
              </a:ext>
            </a:extLst>
          </p:cNvPr>
          <p:cNvSpPr/>
          <p:nvPr/>
        </p:nvSpPr>
        <p:spPr>
          <a:xfrm>
            <a:off x="5734989" y="2631601"/>
            <a:ext cx="142651" cy="204878"/>
          </a:xfrm>
          <a:prstGeom prst="rect">
            <a:avLst/>
          </a:prstGeom>
          <a:solidFill>
            <a:schemeClr val="tx2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49BB2DB-F6AC-6C43-8CC5-21A7E8DDDC8F}"/>
              </a:ext>
            </a:extLst>
          </p:cNvPr>
          <p:cNvSpPr/>
          <p:nvPr/>
        </p:nvSpPr>
        <p:spPr>
          <a:xfrm>
            <a:off x="5400600" y="4078147"/>
            <a:ext cx="245485" cy="231002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77D918B-E9EB-DE45-A479-187865E9EAB9}"/>
              </a:ext>
            </a:extLst>
          </p:cNvPr>
          <p:cNvSpPr/>
          <p:nvPr/>
        </p:nvSpPr>
        <p:spPr>
          <a:xfrm>
            <a:off x="7987384" y="4078147"/>
            <a:ext cx="245485" cy="231002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2"/>
            <a:ext cx="10208027" cy="584776"/>
          </a:xfrm>
        </p:spPr>
        <p:txBody>
          <a:bodyPr>
            <a:normAutofit/>
          </a:bodyPr>
          <a:lstStyle/>
          <a:p>
            <a:r>
              <a:rPr lang="en-US" sz="3200" dirty="0"/>
              <a:t>Evaluating the Robustness of Consensus Ranking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C7204EB-FB2B-484A-2774-9351ED9361FC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7671006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Approximate Evaluation of the Breakdown Functions – Our Practical Algorithm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BB1E764-C981-5FB0-5529-39E9AA1BB4A4}"/>
              </a:ext>
            </a:extLst>
          </p:cNvPr>
          <p:cNvSpPr txBox="1">
            <a:spLocks/>
          </p:cNvSpPr>
          <p:nvPr/>
        </p:nvSpPr>
        <p:spPr>
          <a:xfrm>
            <a:off x="464453" y="1801852"/>
            <a:ext cx="9841112" cy="42285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Recall the def:</a:t>
            </a:r>
          </a:p>
          <a:p>
            <a:endParaRPr lang="en-US" sz="1600" dirty="0"/>
          </a:p>
          <a:p>
            <a:r>
              <a:rPr lang="en-US" sz="1600" dirty="0" err="1"/>
              <a:t>Lagrangian</a:t>
            </a:r>
            <a:r>
              <a:rPr lang="en-US" sz="1600" dirty="0"/>
              <a:t> simplified version: </a:t>
            </a:r>
          </a:p>
          <a:p>
            <a:endParaRPr lang="en-US" sz="1600" dirty="0"/>
          </a:p>
          <a:p>
            <a:r>
              <a:rPr lang="en-US" sz="1600" dirty="0"/>
              <a:t>Smoothing:</a:t>
            </a:r>
          </a:p>
          <a:p>
            <a:endParaRPr lang="en-US" sz="1600" dirty="0"/>
          </a:p>
          <a:p>
            <a:r>
              <a:rPr lang="en-US" sz="1600" dirty="0"/>
              <a:t>		with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b="1" u="sng" dirty="0"/>
              <a:t>Optimization:</a:t>
            </a:r>
            <a:r>
              <a:rPr lang="en-US" sz="1600" dirty="0"/>
              <a:t> Stochastic saddle-point problem </a:t>
            </a:r>
            <a:r>
              <a:rPr lang="en-US" sz="1600" dirty="0">
                <a:sym typeface="Wingdings" pitchFamily="2" charset="2"/>
              </a:rPr>
              <a:t> We run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Monte-Carlo</a:t>
            </a:r>
            <a:r>
              <a:rPr lang="en-US" sz="1600" dirty="0">
                <a:sym typeface="Wingdings" pitchFamily="2" charset="2"/>
              </a:rPr>
              <a:t> estimation for       and stochastic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gradient     </a:t>
            </a:r>
          </a:p>
          <a:p>
            <a:pPr>
              <a:spcBef>
                <a:spcPts val="0"/>
              </a:spcBef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                          descent/ascent</a:t>
            </a:r>
            <a:endParaRPr lang="en-US" sz="1600" b="1" u="sng" dirty="0">
              <a:solidFill>
                <a:schemeClr val="tx2"/>
              </a:solidFill>
            </a:endParaRPr>
          </a:p>
          <a:p>
            <a:pPr>
              <a:spcAft>
                <a:spcPts val="1000"/>
              </a:spcAft>
            </a:pPr>
            <a:endParaRPr lang="en-US" dirty="0"/>
          </a:p>
          <a:p>
            <a:endParaRPr lang="fr-FR" dirty="0"/>
          </a:p>
          <a:p>
            <a:r>
              <a:rPr lang="en-US" b="1" u="sng" dirty="0"/>
              <a:t>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5DFCBCA-22B1-7F5A-2964-D78C52E432D5}"/>
              </a:ext>
            </a:extLst>
          </p:cNvPr>
          <p:cNvSpPr txBox="1"/>
          <p:nvPr/>
        </p:nvSpPr>
        <p:spPr>
          <a:xfrm>
            <a:off x="6944747" y="2982650"/>
            <a:ext cx="15742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 err="1">
                <a:solidFill>
                  <a:schemeClr val="tx2"/>
                </a:solidFill>
                <a:latin typeface="HurmeGeometricSans1 Regular" panose="020B0500020000000000" pitchFamily="34" charset="77"/>
              </a:rPr>
              <a:t>Piecewise</a:t>
            </a:r>
            <a:r>
              <a:rPr lang="fr-FR" sz="1400" dirty="0">
                <a:solidFill>
                  <a:schemeClr val="tx2"/>
                </a:solidFill>
                <a:latin typeface="HurmeGeometricSans1 Regular" panose="020B0500020000000000" pitchFamily="34" charset="77"/>
              </a:rPr>
              <a:t> constant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5AE84F3B-0BDB-901C-BDF7-DEAF818BDB83}"/>
              </a:ext>
            </a:extLst>
          </p:cNvPr>
          <p:cNvSpPr txBox="1"/>
          <p:nvPr/>
        </p:nvSpPr>
        <p:spPr>
          <a:xfrm>
            <a:off x="6280325" y="4437874"/>
            <a:ext cx="8835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 err="1">
                <a:solidFill>
                  <a:schemeClr val="accent2">
                    <a:lumMod val="40000"/>
                    <a:lumOff val="60000"/>
                  </a:schemeClr>
                </a:solidFill>
                <a:latin typeface="HurmeGeometricSans1 Regular" panose="020B0500020000000000" pitchFamily="34" charset="77"/>
              </a:rPr>
              <a:t>Gaussian</a:t>
            </a:r>
            <a:r>
              <a:rPr lang="fr-FR" sz="1400" dirty="0">
                <a:solidFill>
                  <a:schemeClr val="accent2">
                    <a:lumMod val="40000"/>
                    <a:lumOff val="60000"/>
                  </a:schemeClr>
                </a:solidFill>
                <a:latin typeface="HurmeGeometricSans1 Regular" panose="020B0500020000000000" pitchFamily="34" charset="77"/>
              </a:rPr>
              <a:t> </a:t>
            </a:r>
          </a:p>
          <a:p>
            <a:r>
              <a:rPr lang="fr-FR" sz="1400" dirty="0">
                <a:solidFill>
                  <a:schemeClr val="accent2">
                    <a:lumMod val="40000"/>
                    <a:lumOff val="60000"/>
                  </a:schemeClr>
                </a:solidFill>
                <a:latin typeface="HurmeGeometricSans1 Regular" panose="020B0500020000000000" pitchFamily="34" charset="77"/>
              </a:rPr>
              <a:t>kernel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19B2983D-F74A-0712-D9F3-C82A4BC2CD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9863" y="5273813"/>
            <a:ext cx="215900" cy="13970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C9524118-F51D-909F-5A22-37CAF8196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8753" y="1697667"/>
            <a:ext cx="5257800" cy="622300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A5F08BD2-9F77-66C5-A24A-969E723F5C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68031" y="1858181"/>
            <a:ext cx="3276600" cy="215900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05EC114C-5609-DA44-F2E9-8DA82505E4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3066" y="2632484"/>
            <a:ext cx="3937000" cy="36830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06B27363-7C13-EB9A-1447-C1744D7DB8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5478" y="3372608"/>
            <a:ext cx="3429000" cy="368300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6463BA82-AAC3-A42E-1F0A-09015F458D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20335" y="3971760"/>
            <a:ext cx="6210300" cy="469900"/>
          </a:xfrm>
          <a:prstGeom prst="rect">
            <a:avLst/>
          </a:prstGeom>
        </p:spPr>
      </p:pic>
      <p:sp>
        <p:nvSpPr>
          <p:cNvPr id="4" name="Arc 3">
            <a:extLst>
              <a:ext uri="{FF2B5EF4-FFF2-40B4-BE49-F238E27FC236}">
                <a16:creationId xmlns:a16="http://schemas.microsoft.com/office/drawing/2014/main" id="{5A0D3A36-2BA2-E442-967E-0EE0404F355D}"/>
              </a:ext>
            </a:extLst>
          </p:cNvPr>
          <p:cNvSpPr/>
          <p:nvPr/>
        </p:nvSpPr>
        <p:spPr>
          <a:xfrm>
            <a:off x="5803453" y="2577656"/>
            <a:ext cx="2087637" cy="567750"/>
          </a:xfrm>
          <a:prstGeom prst="arc">
            <a:avLst>
              <a:gd name="adj1" fmla="val 4340132"/>
              <a:gd name="adj2" fmla="val 10689145"/>
            </a:avLst>
          </a:prstGeom>
          <a:ln w="15875">
            <a:solidFill>
              <a:schemeClr val="tx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48C06549-D6A2-5C4C-8C72-0D0B97B249A0}"/>
              </a:ext>
            </a:extLst>
          </p:cNvPr>
          <p:cNvSpPr/>
          <p:nvPr/>
        </p:nvSpPr>
        <p:spPr>
          <a:xfrm>
            <a:off x="5507119" y="4110051"/>
            <a:ext cx="1289013" cy="567750"/>
          </a:xfrm>
          <a:prstGeom prst="arc">
            <a:avLst>
              <a:gd name="adj1" fmla="val 4340132"/>
              <a:gd name="adj2" fmla="val 10858814"/>
            </a:avLst>
          </a:prstGeom>
          <a:ln w="15875">
            <a:solidFill>
              <a:schemeClr val="accent2">
                <a:lumMod val="40000"/>
                <a:lumOff val="60000"/>
              </a:schemeClr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C995A93C-14E8-944D-ACB2-7C6AC9D36545}"/>
              </a:ext>
            </a:extLst>
          </p:cNvPr>
          <p:cNvSpPr/>
          <p:nvPr/>
        </p:nvSpPr>
        <p:spPr>
          <a:xfrm flipH="1">
            <a:off x="6368116" y="4108034"/>
            <a:ext cx="1723869" cy="567750"/>
          </a:xfrm>
          <a:prstGeom prst="arc">
            <a:avLst>
              <a:gd name="adj1" fmla="val 4340132"/>
              <a:gd name="adj2" fmla="val 10809761"/>
            </a:avLst>
          </a:prstGeom>
          <a:ln w="15875">
            <a:solidFill>
              <a:schemeClr val="accent2">
                <a:lumMod val="40000"/>
                <a:lumOff val="60000"/>
              </a:schemeClr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A802E8CC-D532-5644-914C-FC7B47FED478}"/>
              </a:ext>
            </a:extLst>
          </p:cNvPr>
          <p:cNvGrpSpPr/>
          <p:nvPr/>
        </p:nvGrpSpPr>
        <p:grpSpPr>
          <a:xfrm>
            <a:off x="3106240" y="2589710"/>
            <a:ext cx="635001" cy="412596"/>
            <a:chOff x="5646084" y="6393618"/>
            <a:chExt cx="635001" cy="41259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75BB09B-4086-3541-93A7-FFF963BE3A98}"/>
                </a:ext>
              </a:extLst>
            </p:cNvPr>
            <p:cNvSpPr/>
            <p:nvPr/>
          </p:nvSpPr>
          <p:spPr>
            <a:xfrm>
              <a:off x="5646084" y="6393618"/>
              <a:ext cx="635001" cy="4125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5" name="Image 4">
              <a:extLst>
                <a:ext uri="{FF2B5EF4-FFF2-40B4-BE49-F238E27FC236}">
                  <a16:creationId xmlns:a16="http://schemas.microsoft.com/office/drawing/2014/main" id="{C4727220-B38B-EA48-8AC8-01A42B5C5F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646085" y="6463314"/>
              <a:ext cx="635000" cy="342900"/>
            </a:xfrm>
            <a:prstGeom prst="rect">
              <a:avLst/>
            </a:prstGeom>
          </p:spPr>
        </p:pic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B0662F5A-430C-4D4F-A0E1-584D8C11042B}"/>
              </a:ext>
            </a:extLst>
          </p:cNvPr>
          <p:cNvGrpSpPr/>
          <p:nvPr/>
        </p:nvGrpSpPr>
        <p:grpSpPr>
          <a:xfrm>
            <a:off x="1558992" y="3328312"/>
            <a:ext cx="635001" cy="412596"/>
            <a:chOff x="5646084" y="6393618"/>
            <a:chExt cx="635001" cy="41259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752E9AB-008D-CC4B-ADC8-03D689A515FB}"/>
                </a:ext>
              </a:extLst>
            </p:cNvPr>
            <p:cNvSpPr/>
            <p:nvPr/>
          </p:nvSpPr>
          <p:spPr>
            <a:xfrm>
              <a:off x="5646084" y="6393618"/>
              <a:ext cx="635001" cy="4125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B545672E-01CE-4F44-A614-BAE9773583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646085" y="6463314"/>
              <a:ext cx="635000" cy="342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95695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2"/>
            <a:ext cx="10208027" cy="584776"/>
          </a:xfrm>
        </p:spPr>
        <p:txBody>
          <a:bodyPr>
            <a:normAutofit/>
          </a:bodyPr>
          <a:lstStyle/>
          <a:p>
            <a:r>
              <a:rPr lang="en-US" sz="3200" dirty="0"/>
              <a:t>Evaluating the Robustness of Consensus Ranking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C7204EB-FB2B-484A-2774-9351ED9361FC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Our Bucket-Based Plugin to </a:t>
            </a:r>
            <a:r>
              <a:rPr lang="en-US" sz="1800" b="1" dirty="0" err="1">
                <a:latin typeface="Hurme Geometric Sans 4 SemiBold" panose="020B0A00020000000000" pitchFamily="34" charset="77"/>
                <a:sym typeface="Wingdings" pitchFamily="2" charset="2"/>
              </a:rPr>
              <a:t>Robustify</a:t>
            </a:r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 Consensus Statistics 1/3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BB1E764-C981-5FB0-5529-39E9AA1BB4A4}"/>
              </a:ext>
            </a:extLst>
          </p:cNvPr>
          <p:cNvSpPr txBox="1">
            <a:spLocks/>
          </p:cNvSpPr>
          <p:nvPr/>
        </p:nvSpPr>
        <p:spPr>
          <a:xfrm>
            <a:off x="464453" y="1801852"/>
            <a:ext cx="9841112" cy="48072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Bucket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Idea: allow for </a:t>
            </a:r>
            <a:r>
              <a:rPr lang="en-US" sz="1600" dirty="0">
                <a:solidFill>
                  <a:schemeClr val="tx2"/>
                </a:solidFill>
              </a:rPr>
              <a:t>indifference</a:t>
            </a:r>
            <a:r>
              <a:rPr lang="en-US" sz="1600" dirty="0"/>
              <a:t> between items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Example: 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juice</a:t>
            </a:r>
            <a:r>
              <a:rPr lang="en-US" sz="1600" dirty="0"/>
              <a:t> </a:t>
            </a:r>
            <a:r>
              <a:rPr lang="en-US" sz="1600" dirty="0">
                <a:solidFill>
                  <a:schemeClr val="tx2"/>
                </a:solidFill>
              </a:rPr>
              <a:t>is the same as </a:t>
            </a:r>
            <a:r>
              <a:rPr lang="en-US" sz="1600" dirty="0">
                <a:solidFill>
                  <a:schemeClr val="accent5">
                    <a:lumMod val="50000"/>
                  </a:schemeClr>
                </a:solidFill>
              </a:rPr>
              <a:t>tea</a:t>
            </a:r>
            <a:r>
              <a:rPr lang="en-US" sz="1600" dirty="0"/>
              <a:t> is better than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coffee</a:t>
            </a:r>
          </a:p>
          <a:p>
            <a:pPr marL="285750" indent="-285750">
              <a:spcAft>
                <a:spcPts val="1000"/>
              </a:spcAft>
              <a:buFontTx/>
              <a:buChar char="-"/>
            </a:pP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n-US" sz="1600" dirty="0">
                <a:solidFill>
                  <a:schemeClr val="tx2"/>
                </a:solidFill>
              </a:rPr>
              <a:t>Formalization as strict weak orders:</a:t>
            </a:r>
          </a:p>
          <a:p>
            <a:r>
              <a:rPr lang="en-US" sz="1600" dirty="0"/>
              <a:t>           is a sequence                              of disjoint subsets:</a:t>
            </a:r>
          </a:p>
          <a:p>
            <a:pPr marL="742939" lvl="1" indent="-285750">
              <a:buFontTx/>
              <a:buChar char="-"/>
            </a:pPr>
            <a:r>
              <a:rPr lang="en-US" sz="1600" dirty="0">
                <a:solidFill>
                  <a:schemeClr val="tx1"/>
                </a:solidFill>
              </a:rPr>
              <a:t>                                                      </a:t>
            </a:r>
          </a:p>
          <a:p>
            <a:pPr marL="742939" lvl="1" indent="-285750">
              <a:buFontTx/>
              <a:buChar char="-"/>
            </a:pPr>
            <a:r>
              <a:rPr lang="en-US" sz="1600" dirty="0">
                <a:solidFill>
                  <a:schemeClr val="tx1"/>
                </a:solidFill>
              </a:rPr>
              <a:t> </a:t>
            </a:r>
          </a:p>
          <a:p>
            <a:pPr marL="742939" lvl="1" indent="-285750">
              <a:buFontTx/>
              <a:buChar char="-"/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600" dirty="0">
                <a:solidFill>
                  <a:schemeClr val="tx2"/>
                </a:solidFill>
              </a:rPr>
              <a:t>As sets of rankings: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solidFill>
                  <a:schemeClr val="tx2"/>
                </a:solidFill>
              </a:rPr>
              <a:t>As distributions: </a:t>
            </a:r>
          </a:p>
          <a:p>
            <a:endParaRPr lang="en-US" sz="1600" dirty="0"/>
          </a:p>
          <a:p>
            <a:endParaRPr lang="fr-FR" dirty="0"/>
          </a:p>
          <a:p>
            <a:r>
              <a:rPr lang="en-US" b="1" u="sng" dirty="0"/>
              <a:t> </a:t>
            </a: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D90552AA-DC80-F8DB-6F23-8678583392A2}"/>
              </a:ext>
            </a:extLst>
          </p:cNvPr>
          <p:cNvGrpSpPr/>
          <p:nvPr/>
        </p:nvGrpSpPr>
        <p:grpSpPr>
          <a:xfrm>
            <a:off x="1710278" y="2872401"/>
            <a:ext cx="3268641" cy="165100"/>
            <a:chOff x="1982631" y="2635935"/>
            <a:chExt cx="3268641" cy="165100"/>
          </a:xfrm>
        </p:grpSpPr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20AF9584-2017-68D9-A44B-0B73784B02E6}"/>
                </a:ext>
              </a:extLst>
            </p:cNvPr>
            <p:cNvGrpSpPr/>
            <p:nvPr/>
          </p:nvGrpSpPr>
          <p:grpSpPr>
            <a:xfrm>
              <a:off x="1982631" y="2635935"/>
              <a:ext cx="3268641" cy="165100"/>
              <a:chOff x="2567847" y="2517591"/>
              <a:chExt cx="3268641" cy="165100"/>
            </a:xfrm>
          </p:grpSpPr>
          <p:grpSp>
            <p:nvGrpSpPr>
              <p:cNvPr id="6" name="Groupe 5">
                <a:extLst>
                  <a:ext uri="{FF2B5EF4-FFF2-40B4-BE49-F238E27FC236}">
                    <a16:creationId xmlns:a16="http://schemas.microsoft.com/office/drawing/2014/main" id="{9C00C34F-04B7-4764-EC7E-12FCDA928A79}"/>
                  </a:ext>
                </a:extLst>
              </p:cNvPr>
              <p:cNvGrpSpPr/>
              <p:nvPr/>
            </p:nvGrpSpPr>
            <p:grpSpPr>
              <a:xfrm>
                <a:off x="2567847" y="2517591"/>
                <a:ext cx="1686524" cy="165100"/>
                <a:chOff x="2437218" y="2517591"/>
                <a:chExt cx="1686524" cy="165100"/>
              </a:xfrm>
            </p:grpSpPr>
            <p:pic>
              <p:nvPicPr>
                <p:cNvPr id="11" name="Image 10">
                  <a:extLst>
                    <a:ext uri="{FF2B5EF4-FFF2-40B4-BE49-F238E27FC236}">
                      <a16:creationId xmlns:a16="http://schemas.microsoft.com/office/drawing/2014/main" id="{AC88FE1A-02A8-39C8-F3DE-9C15A48250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2437218" y="2517591"/>
                  <a:ext cx="101600" cy="152400"/>
                </a:xfrm>
                <a:prstGeom prst="rect">
                  <a:avLst/>
                </a:prstGeom>
              </p:spPr>
            </p:pic>
            <p:pic>
              <p:nvPicPr>
                <p:cNvPr id="18" name="Image 17">
                  <a:extLst>
                    <a:ext uri="{FF2B5EF4-FFF2-40B4-BE49-F238E27FC236}">
                      <a16:creationId xmlns:a16="http://schemas.microsoft.com/office/drawing/2014/main" id="{3748D06A-1A32-E210-3087-B9AB9911FBB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022142" y="2530291"/>
                  <a:ext cx="101600" cy="152400"/>
                </a:xfrm>
                <a:prstGeom prst="rect">
                  <a:avLst/>
                </a:prstGeom>
              </p:spPr>
            </p:pic>
          </p:grpSp>
          <p:pic>
            <p:nvPicPr>
              <p:cNvPr id="7" name="Image 6">
                <a:extLst>
                  <a:ext uri="{FF2B5EF4-FFF2-40B4-BE49-F238E27FC236}">
                    <a16:creationId xmlns:a16="http://schemas.microsoft.com/office/drawing/2014/main" id="{F68699D9-CD8D-87E4-8CFF-270B5E78CC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747588" y="2518015"/>
                <a:ext cx="88900" cy="152400"/>
              </a:xfrm>
              <a:prstGeom prst="rect">
                <a:avLst/>
              </a:prstGeom>
            </p:spPr>
          </p:pic>
        </p:grpSp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47D882EF-C99F-2D04-E003-F9B64889D4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55218" y="2686735"/>
              <a:ext cx="152400" cy="50800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D9D77E9C-6CDF-8194-09D2-14388BC8F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22611" y="2648635"/>
              <a:ext cx="139700" cy="127000"/>
            </a:xfrm>
            <a:prstGeom prst="rect">
              <a:avLst/>
            </a:prstGeom>
          </p:spPr>
        </p:pic>
      </p:grpSp>
      <p:pic>
        <p:nvPicPr>
          <p:cNvPr id="25" name="Image 24">
            <a:extLst>
              <a:ext uri="{FF2B5EF4-FFF2-40B4-BE49-F238E27FC236}">
                <a16:creationId xmlns:a16="http://schemas.microsoft.com/office/drawing/2014/main" id="{C3A6357E-01DF-4F78-F575-43D3AE359F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18651" y="5335583"/>
            <a:ext cx="3479800" cy="21590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59A18595-77D3-DB36-6DFD-814764C8A62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61449" y="5111605"/>
            <a:ext cx="190500" cy="127000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8C097A29-84C5-B914-94C4-FE412AA8537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81564" y="5111605"/>
            <a:ext cx="190500" cy="127000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19321625-778A-4F4E-1C58-F1B7172A522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68722" y="5669861"/>
            <a:ext cx="1460500" cy="419100"/>
          </a:xfrm>
          <a:prstGeom prst="rect">
            <a:avLst/>
          </a:prstGeom>
        </p:spPr>
      </p:pic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682301CF-D5BC-969B-5914-B1A436EBD8DD}"/>
              </a:ext>
            </a:extLst>
          </p:cNvPr>
          <p:cNvSpPr txBox="1">
            <a:spLocks/>
          </p:cNvSpPr>
          <p:nvPr/>
        </p:nvSpPr>
        <p:spPr>
          <a:xfrm>
            <a:off x="6588617" y="1801852"/>
            <a:ext cx="4096741" cy="35934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Distance:</a:t>
            </a:r>
          </a:p>
          <a:p>
            <a:r>
              <a:rPr lang="en-US" sz="1600" dirty="0">
                <a:latin typeface="HurmeGeometricSans1 Regular" panose="020B0500020000000000" pitchFamily="34" charset="77"/>
              </a:rPr>
              <a:t>As a bucket ranking is a</a:t>
            </a:r>
            <a:r>
              <a:rPr lang="en-US" sz="1600" dirty="0">
                <a:solidFill>
                  <a:schemeClr val="tx2"/>
                </a:solidFill>
                <a:latin typeface="HurmeGeometricSans1 Regular" panose="020B0500020000000000" pitchFamily="34" charset="77"/>
              </a:rPr>
              <a:t> set</a:t>
            </a:r>
            <a:r>
              <a:rPr lang="en-US" sz="1600" dirty="0">
                <a:latin typeface="HurmeGeometricSans1 Regular" panose="020B0500020000000000" pitchFamily="34" charset="77"/>
              </a:rPr>
              <a:t>, we can use a classical </a:t>
            </a:r>
            <a:r>
              <a:rPr lang="en-US" sz="1600" dirty="0" err="1">
                <a:solidFill>
                  <a:schemeClr val="tx2"/>
                </a:solidFill>
                <a:latin typeface="HurmeGeometricSans1 Regular" panose="020B0500020000000000" pitchFamily="34" charset="77"/>
              </a:rPr>
              <a:t>Hausdorff</a:t>
            </a:r>
            <a:r>
              <a:rPr lang="en-US" sz="1600" dirty="0">
                <a:solidFill>
                  <a:schemeClr val="tx2"/>
                </a:solidFill>
                <a:latin typeface="HurmeGeometricSans1 Regular" panose="020B0500020000000000" pitchFamily="34" charset="77"/>
              </a:rPr>
              <a:t> extension</a:t>
            </a:r>
            <a:r>
              <a:rPr lang="en-US" sz="1600" dirty="0">
                <a:latin typeface="HurmeGeometricSans1 Regular" panose="020B0500020000000000" pitchFamily="34" charset="77"/>
              </a:rPr>
              <a:t> of metrics to sets.</a:t>
            </a:r>
          </a:p>
          <a:p>
            <a:endParaRPr lang="en-US" sz="1600" dirty="0">
              <a:latin typeface="HurmeGeometricSans1 Regular" panose="020B0500020000000000" pitchFamily="34" charset="77"/>
            </a:endParaRPr>
          </a:p>
          <a:p>
            <a:endParaRPr lang="en-US" sz="1600" dirty="0">
              <a:latin typeface="HurmeGeometricSans1 Regular" panose="020B0500020000000000" pitchFamily="34" charset="77"/>
            </a:endParaRPr>
          </a:p>
          <a:p>
            <a:endParaRPr lang="fr-FR" dirty="0"/>
          </a:p>
          <a:p>
            <a:r>
              <a:rPr lang="en-US" b="1" u="sng" dirty="0"/>
              <a:t> </a:t>
            </a:r>
          </a:p>
        </p:txBody>
      </p:sp>
      <p:pic>
        <p:nvPicPr>
          <p:cNvPr id="34" name="Image 33">
            <a:extLst>
              <a:ext uri="{FF2B5EF4-FFF2-40B4-BE49-F238E27FC236}">
                <a16:creationId xmlns:a16="http://schemas.microsoft.com/office/drawing/2014/main" id="{C6A1C3C3-6C28-F5D0-32F2-32BC20FF00A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25140" y="3084494"/>
            <a:ext cx="2997200" cy="317500"/>
          </a:xfrm>
          <a:prstGeom prst="rect">
            <a:avLst/>
          </a:prstGeom>
        </p:spPr>
      </p:pic>
      <p:pic>
        <p:nvPicPr>
          <p:cNvPr id="43" name="Image 42">
            <a:extLst>
              <a:ext uri="{FF2B5EF4-FFF2-40B4-BE49-F238E27FC236}">
                <a16:creationId xmlns:a16="http://schemas.microsoft.com/office/drawing/2014/main" id="{DECF6E5C-5426-0341-95C3-F8BCA5EDEB0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64912" y="3929931"/>
            <a:ext cx="114300" cy="101600"/>
          </a:xfrm>
          <a:prstGeom prst="rect">
            <a:avLst/>
          </a:prstGeom>
        </p:spPr>
      </p:pic>
      <p:pic>
        <p:nvPicPr>
          <p:cNvPr id="44" name="Image 43">
            <a:extLst>
              <a:ext uri="{FF2B5EF4-FFF2-40B4-BE49-F238E27FC236}">
                <a16:creationId xmlns:a16="http://schemas.microsoft.com/office/drawing/2014/main" id="{D72906FC-AFC7-7143-BAA5-DD86EF298ED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06264" y="3823639"/>
            <a:ext cx="1257300" cy="254000"/>
          </a:xfrm>
          <a:prstGeom prst="rect">
            <a:avLst/>
          </a:prstGeom>
        </p:spPr>
      </p:pic>
      <p:pic>
        <p:nvPicPr>
          <p:cNvPr id="47" name="Image 46">
            <a:extLst>
              <a:ext uri="{FF2B5EF4-FFF2-40B4-BE49-F238E27FC236}">
                <a16:creationId xmlns:a16="http://schemas.microsoft.com/office/drawing/2014/main" id="{DF4B9C8A-F721-6B46-BB92-D009A35CF89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56219" y="4553599"/>
            <a:ext cx="3378200" cy="254000"/>
          </a:xfrm>
          <a:prstGeom prst="rect">
            <a:avLst/>
          </a:prstGeom>
        </p:spPr>
      </p:pic>
      <p:pic>
        <p:nvPicPr>
          <p:cNvPr id="48" name="Image 47">
            <a:extLst>
              <a:ext uri="{FF2B5EF4-FFF2-40B4-BE49-F238E27FC236}">
                <a16:creationId xmlns:a16="http://schemas.microsoft.com/office/drawing/2014/main" id="{DED73E82-4B0D-B345-B458-FE47F872F5D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825617" y="3860239"/>
            <a:ext cx="3086560" cy="1894720"/>
          </a:xfrm>
          <a:prstGeom prst="rect">
            <a:avLst/>
          </a:prstGeom>
        </p:spPr>
      </p:pic>
      <p:grpSp>
        <p:nvGrpSpPr>
          <p:cNvPr id="57" name="Groupe 56">
            <a:extLst>
              <a:ext uri="{FF2B5EF4-FFF2-40B4-BE49-F238E27FC236}">
                <a16:creationId xmlns:a16="http://schemas.microsoft.com/office/drawing/2014/main" id="{131737C4-C3DE-704B-B2DA-49513C1AFF90}"/>
              </a:ext>
            </a:extLst>
          </p:cNvPr>
          <p:cNvGrpSpPr/>
          <p:nvPr/>
        </p:nvGrpSpPr>
        <p:grpSpPr>
          <a:xfrm>
            <a:off x="7048249" y="4198360"/>
            <a:ext cx="1987109" cy="1907610"/>
            <a:chOff x="7048249" y="4198360"/>
            <a:chExt cx="1987109" cy="1907610"/>
          </a:xfrm>
        </p:grpSpPr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D9C03962-B6BF-514A-8E9C-245B61A1D385}"/>
                </a:ext>
              </a:extLst>
            </p:cNvPr>
            <p:cNvSpPr/>
            <p:nvPr/>
          </p:nvSpPr>
          <p:spPr>
            <a:xfrm>
              <a:off x="7650253" y="4361163"/>
              <a:ext cx="271604" cy="892871"/>
            </a:xfrm>
            <a:prstGeom prst="ellipse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F0F219FD-FC9D-7543-8356-1B30FEC1356D}"/>
                </a:ext>
              </a:extLst>
            </p:cNvPr>
            <p:cNvSpPr/>
            <p:nvPr/>
          </p:nvSpPr>
          <p:spPr>
            <a:xfrm>
              <a:off x="8792019" y="4442712"/>
              <a:ext cx="243339" cy="264249"/>
            </a:xfrm>
            <a:prstGeom prst="ellipse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52" name="Image 51">
              <a:extLst>
                <a:ext uri="{FF2B5EF4-FFF2-40B4-BE49-F238E27FC236}">
                  <a16:creationId xmlns:a16="http://schemas.microsoft.com/office/drawing/2014/main" id="{4D5699BC-05A9-234F-A305-0C0C203BFA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690805" y="4198360"/>
              <a:ext cx="190500" cy="127000"/>
            </a:xfrm>
            <a:prstGeom prst="rect">
              <a:avLst/>
            </a:prstGeom>
          </p:spPr>
        </p:pic>
        <p:pic>
          <p:nvPicPr>
            <p:cNvPr id="54" name="Image 53">
              <a:extLst>
                <a:ext uri="{FF2B5EF4-FFF2-40B4-BE49-F238E27FC236}">
                  <a16:creationId xmlns:a16="http://schemas.microsoft.com/office/drawing/2014/main" id="{F935DD0B-4C40-C341-A004-B25612826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8802608" y="4245862"/>
              <a:ext cx="190500" cy="127000"/>
            </a:xfrm>
            <a:prstGeom prst="rect">
              <a:avLst/>
            </a:prstGeom>
          </p:spPr>
        </p:pic>
        <p:pic>
          <p:nvPicPr>
            <p:cNvPr id="55" name="Image 54">
              <a:extLst>
                <a:ext uri="{FF2B5EF4-FFF2-40B4-BE49-F238E27FC236}">
                  <a16:creationId xmlns:a16="http://schemas.microsoft.com/office/drawing/2014/main" id="{DFB71031-97A3-604D-8C17-757A293C1C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048249" y="5890070"/>
              <a:ext cx="1206500" cy="215900"/>
            </a:xfrm>
            <a:prstGeom prst="rect">
              <a:avLst/>
            </a:prstGeom>
          </p:spPr>
        </p:pic>
      </p:grpSp>
      <p:pic>
        <p:nvPicPr>
          <p:cNvPr id="59" name="Image 58">
            <a:extLst>
              <a:ext uri="{FF2B5EF4-FFF2-40B4-BE49-F238E27FC236}">
                <a16:creationId xmlns:a16="http://schemas.microsoft.com/office/drawing/2014/main" id="{05F6BED5-87D7-4444-A088-9B9187FF82A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676907" y="5895302"/>
            <a:ext cx="1206500" cy="21590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BC79C021-7DB5-CF4B-9B72-3CB0F01AC58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156219" y="4183923"/>
            <a:ext cx="38481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290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2"/>
            <a:ext cx="10208027" cy="584776"/>
          </a:xfrm>
        </p:spPr>
        <p:txBody>
          <a:bodyPr>
            <a:normAutofit/>
          </a:bodyPr>
          <a:lstStyle/>
          <a:p>
            <a:r>
              <a:rPr lang="en-US" sz="3200" dirty="0"/>
              <a:t>Evaluating the Robustness of Consensus Ranking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C7204EB-FB2B-484A-2774-9351ED9361FC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Our Bucket-Based Plugin to </a:t>
            </a:r>
            <a:r>
              <a:rPr lang="en-US" sz="1800" b="1" dirty="0" err="1">
                <a:latin typeface="Hurme Geometric Sans 4 SemiBold" panose="020B0A00020000000000" pitchFamily="34" charset="77"/>
                <a:sym typeface="Wingdings" pitchFamily="2" charset="2"/>
              </a:rPr>
              <a:t>Robustify</a:t>
            </a:r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 Consensus Statistics 2/3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BB1E764-C981-5FB0-5529-39E9AA1BB4A4}"/>
              </a:ext>
            </a:extLst>
          </p:cNvPr>
          <p:cNvSpPr txBox="1">
            <a:spLocks/>
          </p:cNvSpPr>
          <p:nvPr/>
        </p:nvSpPr>
        <p:spPr>
          <a:xfrm>
            <a:off x="464453" y="1554714"/>
            <a:ext cx="9841112" cy="35934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 err="1"/>
              <a:t>Robustifying</a:t>
            </a:r>
            <a:r>
              <a:rPr lang="en-US" sz="1600" b="1" u="sng" dirty="0"/>
              <a:t> </a:t>
            </a:r>
            <a:r>
              <a:rPr lang="en-US" sz="1600" b="1" u="sng" dirty="0" err="1"/>
              <a:t>Kemeny’s</a:t>
            </a:r>
            <a:r>
              <a:rPr lang="en-US" sz="1600" b="1" u="sng" dirty="0"/>
              <a:t> Consensus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Idea: if </a:t>
            </a:r>
            <a:r>
              <a:rPr lang="en-US" sz="1600" dirty="0">
                <a:solidFill>
                  <a:schemeClr val="tx2"/>
                </a:solidFill>
              </a:rPr>
              <a:t>two items </a:t>
            </a:r>
            <a:r>
              <a:rPr lang="en-US" sz="1600" dirty="0"/>
              <a:t>are very </a:t>
            </a:r>
            <a:r>
              <a:rPr lang="en-US" sz="1600" dirty="0">
                <a:solidFill>
                  <a:schemeClr val="tx2"/>
                </a:solidFill>
              </a:rPr>
              <a:t>close</a:t>
            </a:r>
            <a:r>
              <a:rPr lang="en-US" sz="1600" dirty="0"/>
              <a:t> to each other, </a:t>
            </a:r>
            <a:r>
              <a:rPr lang="en-US" sz="1600" dirty="0">
                <a:solidFill>
                  <a:schemeClr val="tx2"/>
                </a:solidFill>
              </a:rPr>
              <a:t>merge</a:t>
            </a:r>
            <a:r>
              <a:rPr lang="en-US" sz="1600" dirty="0"/>
              <a:t> them into the </a:t>
            </a:r>
            <a:r>
              <a:rPr lang="en-US" sz="1600" dirty="0">
                <a:solidFill>
                  <a:schemeClr val="tx2"/>
                </a:solidFill>
              </a:rPr>
              <a:t>same bucket</a:t>
            </a:r>
          </a:p>
          <a:p>
            <a:pPr lvl="1"/>
            <a:r>
              <a:rPr lang="en-US" sz="1600" dirty="0"/>
              <a:t>	</a:t>
            </a:r>
            <a:r>
              <a:rPr lang="en-US" sz="1600" dirty="0">
                <a:solidFill>
                  <a:schemeClr val="tx1"/>
                </a:solidFill>
              </a:rPr>
              <a:t>Close: use the pairwise values 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Example: 51% of people say </a:t>
            </a:r>
          </a:p>
          <a:p>
            <a:pPr lvl="1">
              <a:spcBef>
                <a:spcPts val="0"/>
              </a:spcBef>
            </a:pPr>
            <a:r>
              <a:rPr lang="en-US" sz="1600" dirty="0"/>
              <a:t>	</a:t>
            </a:r>
            <a:r>
              <a:rPr lang="en-US" sz="1600" dirty="0">
                <a:solidFill>
                  <a:schemeClr val="tx1"/>
                </a:solidFill>
              </a:rPr>
              <a:t>    49% of people say </a:t>
            </a:r>
          </a:p>
          <a:p>
            <a:pPr lvl="1"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en-US" sz="1600" dirty="0">
                <a:solidFill>
                  <a:schemeClr val="tx1"/>
                </a:solidFill>
              </a:rPr>
              <a:t>Challenge: hard to know </a:t>
            </a:r>
            <a:r>
              <a:rPr lang="en-US" sz="1600" dirty="0">
                <a:solidFill>
                  <a:schemeClr val="tx2"/>
                </a:solidFill>
              </a:rPr>
              <a:t>how to merge </a:t>
            </a:r>
            <a:r>
              <a:rPr lang="en-US" sz="1600" dirty="0">
                <a:solidFill>
                  <a:schemeClr val="tx1"/>
                </a:solidFill>
              </a:rPr>
              <a:t>in general</a:t>
            </a:r>
          </a:p>
          <a:p>
            <a:pPr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r>
              <a:rPr lang="en-US" b="1" u="sng" dirty="0"/>
              <a:t>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ADF7DB2-88E4-AE8C-634C-E541096818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640" y="2379791"/>
            <a:ext cx="1879600" cy="2159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5322436-5E5F-7E05-A445-E4197628B6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4096" y="2796625"/>
            <a:ext cx="825500" cy="1524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DC336FD-1725-943E-83DE-D5148F43F7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2122" y="3100979"/>
            <a:ext cx="825500" cy="152400"/>
          </a:xfrm>
          <a:prstGeom prst="rect">
            <a:avLst/>
          </a:prstGeom>
        </p:spPr>
      </p:pic>
      <p:sp>
        <p:nvSpPr>
          <p:cNvPr id="9" name="Accolade fermante 8">
            <a:extLst>
              <a:ext uri="{FF2B5EF4-FFF2-40B4-BE49-F238E27FC236}">
                <a16:creationId xmlns:a16="http://schemas.microsoft.com/office/drawing/2014/main" id="{42F81C7E-0998-D90B-BAC1-EEA2560C3C9F}"/>
              </a:ext>
            </a:extLst>
          </p:cNvPr>
          <p:cNvSpPr/>
          <p:nvPr/>
        </p:nvSpPr>
        <p:spPr>
          <a:xfrm>
            <a:off x="4193321" y="2808982"/>
            <a:ext cx="170121" cy="441616"/>
          </a:xfrm>
          <a:prstGeom prst="rightBrace">
            <a:avLst>
              <a:gd name="adj1" fmla="val 49392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1B665765-2B98-98F0-2624-291E49E05B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6617" y="2906573"/>
            <a:ext cx="952500" cy="203200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DC74A4AD-C162-086A-0FC9-F2A73D9B022C}"/>
              </a:ext>
            </a:extLst>
          </p:cNvPr>
          <p:cNvSpPr txBox="1"/>
          <p:nvPr/>
        </p:nvSpPr>
        <p:spPr>
          <a:xfrm>
            <a:off x="5573307" y="2809489"/>
            <a:ext cx="44783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 err="1">
                <a:latin typeface="HurmeGeometricSans1 Regular" panose="020B0500020000000000" pitchFamily="34" charset="77"/>
              </a:rPr>
              <a:t>very</a:t>
            </a:r>
            <a:r>
              <a:rPr lang="fr-FR" sz="1600" dirty="0">
                <a:latin typeface="HurmeGeometricSans1 Regular" panose="020B0500020000000000" pitchFamily="34" charset="77"/>
              </a:rPr>
              <a:t> close to 0.5 </a:t>
            </a:r>
            <a:r>
              <a:rPr lang="fr-FR" sz="1600" dirty="0">
                <a:latin typeface="HurmeGeometricSans1 Regular" panose="020B0500020000000000" pitchFamily="34" charset="77"/>
                <a:sym typeface="Wingdings" pitchFamily="2" charset="2"/>
              </a:rPr>
              <a:t> merge 2 &amp; 3 in the </a:t>
            </a:r>
            <a:r>
              <a:rPr lang="fr-FR" sz="1600" dirty="0" err="1">
                <a:latin typeface="HurmeGeometricSans1 Regular" panose="020B0500020000000000" pitchFamily="34" charset="77"/>
                <a:sym typeface="Wingdings" pitchFamily="2" charset="2"/>
              </a:rPr>
              <a:t>same</a:t>
            </a:r>
            <a:r>
              <a:rPr lang="fr-FR" sz="1600" dirty="0">
                <a:latin typeface="HurmeGeometricSans1 Regular" panose="020B0500020000000000" pitchFamily="34" charset="77"/>
                <a:sym typeface="Wingdings" pitchFamily="2" charset="2"/>
              </a:rPr>
              <a:t> </a:t>
            </a:r>
            <a:r>
              <a:rPr lang="fr-FR" sz="1600" dirty="0" err="1">
                <a:latin typeface="HurmeGeometricSans1 Regular" panose="020B0500020000000000" pitchFamily="34" charset="77"/>
                <a:sym typeface="Wingdings" pitchFamily="2" charset="2"/>
              </a:rPr>
              <a:t>bucket</a:t>
            </a:r>
            <a:endParaRPr lang="fr-FR" sz="1600" dirty="0">
              <a:latin typeface="HurmeGeometricSans1 Regular" panose="020B0500020000000000" pitchFamily="34" charset="77"/>
            </a:endParaRPr>
          </a:p>
        </p:txBody>
      </p:sp>
      <p:pic>
        <p:nvPicPr>
          <p:cNvPr id="15" name="Image 14" descr="Une image contenant diagramme&#10;&#10;Description générée automatiquement">
            <a:extLst>
              <a:ext uri="{FF2B5EF4-FFF2-40B4-BE49-F238E27FC236}">
                <a16:creationId xmlns:a16="http://schemas.microsoft.com/office/drawing/2014/main" id="{363AB8AF-64FF-7F4D-1F7F-ACBC48762E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575" y="4046819"/>
            <a:ext cx="7772400" cy="139018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1" name="Encre 10">
                <a:extLst>
                  <a:ext uri="{FF2B5EF4-FFF2-40B4-BE49-F238E27FC236}">
                    <a16:creationId xmlns:a16="http://schemas.microsoft.com/office/drawing/2014/main" id="{3FAD39CD-F53D-36F5-7AB5-3E8B970FF25E}"/>
                  </a:ext>
                </a:extLst>
              </p14:cNvPr>
              <p14:cNvContentPartPr/>
              <p14:nvPr/>
            </p14:nvContentPartPr>
            <p14:xfrm>
              <a:off x="1672243" y="4481367"/>
              <a:ext cx="372240" cy="231480"/>
            </p14:xfrm>
          </p:contentPart>
        </mc:Choice>
        <mc:Fallback xmlns="">
          <p:pic>
            <p:nvPicPr>
              <p:cNvPr id="11" name="Encre 10">
                <a:extLst>
                  <a:ext uri="{FF2B5EF4-FFF2-40B4-BE49-F238E27FC236}">
                    <a16:creationId xmlns:a16="http://schemas.microsoft.com/office/drawing/2014/main" id="{3FAD39CD-F53D-36F5-7AB5-3E8B970FF25E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656763" y="4465887"/>
                <a:ext cx="402840" cy="262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4" name="Encre 13">
                <a:extLst>
                  <a:ext uri="{FF2B5EF4-FFF2-40B4-BE49-F238E27FC236}">
                    <a16:creationId xmlns:a16="http://schemas.microsoft.com/office/drawing/2014/main" id="{41EC963D-8361-0A46-B827-764028944D50}"/>
                  </a:ext>
                </a:extLst>
              </p14:cNvPr>
              <p14:cNvContentPartPr/>
              <p14:nvPr/>
            </p14:nvContentPartPr>
            <p14:xfrm>
              <a:off x="1366243" y="5135609"/>
              <a:ext cx="402480" cy="281880"/>
            </p14:xfrm>
          </p:contentPart>
        </mc:Choice>
        <mc:Fallback xmlns="">
          <p:pic>
            <p:nvPicPr>
              <p:cNvPr id="14" name="Encre 13">
                <a:extLst>
                  <a:ext uri="{FF2B5EF4-FFF2-40B4-BE49-F238E27FC236}">
                    <a16:creationId xmlns:a16="http://schemas.microsoft.com/office/drawing/2014/main" id="{41EC963D-8361-0A46-B827-764028944D50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350777" y="5120129"/>
                <a:ext cx="433053" cy="3124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6" name="Encre 15">
                <a:extLst>
                  <a:ext uri="{FF2B5EF4-FFF2-40B4-BE49-F238E27FC236}">
                    <a16:creationId xmlns:a16="http://schemas.microsoft.com/office/drawing/2014/main" id="{175F6D4F-2E4B-E101-52BC-CAE4980BCF38}"/>
                  </a:ext>
                </a:extLst>
              </p14:cNvPr>
              <p14:cNvContentPartPr/>
              <p14:nvPr/>
            </p14:nvContentPartPr>
            <p14:xfrm>
              <a:off x="2044483" y="4554176"/>
              <a:ext cx="304920" cy="324720"/>
            </p14:xfrm>
          </p:contentPart>
        </mc:Choice>
        <mc:Fallback xmlns="">
          <p:pic>
            <p:nvPicPr>
              <p:cNvPr id="16" name="Encre 15">
                <a:extLst>
                  <a:ext uri="{FF2B5EF4-FFF2-40B4-BE49-F238E27FC236}">
                    <a16:creationId xmlns:a16="http://schemas.microsoft.com/office/drawing/2014/main" id="{175F6D4F-2E4B-E101-52BC-CAE4980BCF38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029003" y="4538696"/>
                <a:ext cx="335520" cy="3553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661761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2"/>
            <a:ext cx="10208027" cy="584776"/>
          </a:xfrm>
        </p:spPr>
        <p:txBody>
          <a:bodyPr>
            <a:normAutofit/>
          </a:bodyPr>
          <a:lstStyle/>
          <a:p>
            <a:r>
              <a:rPr lang="en-US" sz="3200" dirty="0"/>
              <a:t>Evaluating the Robustness of Consensus Ranking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C7204EB-FB2B-484A-2774-9351ED9361FC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Our Bucket-Based Plugin to </a:t>
            </a:r>
            <a:r>
              <a:rPr lang="en-US" sz="1800" b="1" dirty="0" err="1">
                <a:latin typeface="Hurme Geometric Sans 4 SemiBold" panose="020B0A00020000000000" pitchFamily="34" charset="77"/>
                <a:sym typeface="Wingdings" pitchFamily="2" charset="2"/>
              </a:rPr>
              <a:t>Robustify</a:t>
            </a:r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 Consensus Statistics 3/3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BB1E764-C981-5FB0-5529-39E9AA1BB4A4}"/>
              </a:ext>
            </a:extLst>
          </p:cNvPr>
          <p:cNvSpPr txBox="1">
            <a:spLocks/>
          </p:cNvSpPr>
          <p:nvPr/>
        </p:nvSpPr>
        <p:spPr>
          <a:xfrm>
            <a:off x="464453" y="1801851"/>
            <a:ext cx="7685634" cy="49435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How it work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Input: pairwise matrix          , </a:t>
            </a:r>
            <a:r>
              <a:rPr lang="en-US" sz="1600" dirty="0" err="1"/>
              <a:t>Kemeny’s</a:t>
            </a:r>
            <a:r>
              <a:rPr lang="en-US" sz="1600" dirty="0"/>
              <a:t> consensus      and threshold      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Idea: 0) Init </a:t>
            </a:r>
          </a:p>
          <a:p>
            <a:r>
              <a:rPr lang="en-US" sz="1600" dirty="0"/>
              <a:t>                1) find the pair of items           </a:t>
            </a:r>
            <a:r>
              <a:rPr lang="en-US" sz="1600" dirty="0" err="1"/>
              <a:t>st</a:t>
            </a:r>
            <a:r>
              <a:rPr lang="en-US" sz="1600" dirty="0"/>
              <a:t>                               (the deviation is ok)</a:t>
            </a:r>
          </a:p>
          <a:p>
            <a:pPr lvl="8" indent="0">
              <a:buNone/>
            </a:pPr>
            <a:r>
              <a:rPr lang="en-US" sz="1600" dirty="0"/>
              <a:t>         </a:t>
            </a:r>
            <a:r>
              <a:rPr lang="en-US" sz="1600" dirty="0">
                <a:latin typeface="HurmeGeometricSans1 Regular" panose="020B0500020000000000" pitchFamily="34" charset="77"/>
              </a:rPr>
              <a:t>is maximal (select the “worst pair”                       </a:t>
            </a:r>
            <a:r>
              <a:rPr lang="en-US" sz="1600" dirty="0" err="1">
                <a:solidFill>
                  <a:schemeClr val="bg1"/>
                </a:solidFill>
                <a:latin typeface="HurmeGeometricSans1 Regular" panose="020B0500020000000000" pitchFamily="34" charset="77"/>
              </a:rPr>
              <a:t>aaaaa</a:t>
            </a:r>
            <a:r>
              <a:rPr lang="en-US" sz="1600" dirty="0">
                <a:latin typeface="HurmeGeometricSans1 Regular" panose="020B0500020000000000" pitchFamily="34" charset="77"/>
              </a:rPr>
              <a:t> amongst the possible ones)</a:t>
            </a:r>
          </a:p>
          <a:p>
            <a:pPr lvl="1"/>
            <a:r>
              <a:rPr lang="en-US" sz="1600" dirty="0">
                <a:solidFill>
                  <a:schemeClr val="tx1"/>
                </a:solidFill>
                <a:latin typeface="HurmeGeometricSans1 Regular" panose="020B0500020000000000" pitchFamily="34" charset="77"/>
              </a:rPr>
              <a:t>      2) merge           and all items in between (update     )</a:t>
            </a:r>
          </a:p>
          <a:p>
            <a:pPr lvl="1"/>
            <a:r>
              <a:rPr lang="en-US" sz="1600" dirty="0">
                <a:solidFill>
                  <a:schemeClr val="tx1"/>
                </a:solidFill>
                <a:latin typeface="HurmeGeometricSans1 Regular" panose="020B0500020000000000" pitchFamily="34" charset="77"/>
              </a:rPr>
              <a:t>      3) update           by </a:t>
            </a:r>
            <a:r>
              <a:rPr lang="en-US" sz="1600" dirty="0">
                <a:latin typeface="HurmeGeometricSans1 Regular" panose="020B0500020000000000" pitchFamily="34" charset="77"/>
              </a:rPr>
              <a:t>taking the max</a:t>
            </a:r>
            <a:r>
              <a:rPr lang="en-US" sz="1600" dirty="0">
                <a:solidFill>
                  <a:schemeClr val="tx1"/>
                </a:solidFill>
                <a:latin typeface="HurmeGeometricSans1 Regular" panose="020B0500020000000000" pitchFamily="34" charset="77"/>
              </a:rPr>
              <a:t> (no transitivity)</a:t>
            </a:r>
          </a:p>
          <a:p>
            <a:r>
              <a:rPr lang="en-US" sz="1600" dirty="0">
                <a:latin typeface="HurmeGeometricSans1 Regular" panose="020B0500020000000000" pitchFamily="34" charset="77"/>
              </a:rPr>
              <a:t>      Repeat until 1) is empty</a:t>
            </a:r>
          </a:p>
          <a:p>
            <a:endParaRPr lang="en-US" sz="1600" dirty="0">
              <a:solidFill>
                <a:schemeClr val="tx1"/>
              </a:solidFill>
              <a:latin typeface="HurmeGeometricSans1 Regular" panose="020B0500020000000000" pitchFamily="34" charset="77"/>
            </a:endParaRPr>
          </a:p>
          <a:p>
            <a:pPr>
              <a:spcBef>
                <a:spcPts val="0"/>
              </a:spcBef>
            </a:pPr>
            <a:r>
              <a:rPr lang="en-US" sz="1600" b="1" u="sng" dirty="0"/>
              <a:t>Evaluation goal:</a:t>
            </a:r>
          </a:p>
          <a:p>
            <a:pPr marL="285750" indent="-285750">
              <a:spcBef>
                <a:spcPts val="300"/>
              </a:spcBef>
              <a:buFontTx/>
              <a:buChar char="-"/>
            </a:pPr>
            <a:r>
              <a:rPr lang="en-US" sz="1600" dirty="0"/>
              <a:t>Get a more robust consensus, obviously</a:t>
            </a:r>
          </a:p>
          <a:p>
            <a:pPr marL="285750" indent="-285750">
              <a:spcBef>
                <a:spcPts val="300"/>
              </a:spcBef>
              <a:buFontTx/>
              <a:buChar char="-"/>
            </a:pPr>
            <a:r>
              <a:rPr lang="en-US" sz="1600" dirty="0"/>
              <a:t>Do we loose in precision? Does                                   get too high?</a:t>
            </a:r>
          </a:p>
          <a:p>
            <a:endParaRPr lang="en-US" dirty="0">
              <a:solidFill>
                <a:schemeClr val="tx1"/>
              </a:solidFill>
              <a:latin typeface="HurmeGeometricSans1 Regular" panose="020B0500020000000000" pitchFamily="34" charset="77"/>
            </a:endParaRPr>
          </a:p>
          <a:p>
            <a:pPr>
              <a:spcBef>
                <a:spcPts val="0"/>
              </a:spcBef>
            </a:pPr>
            <a:endParaRPr lang="en-US" dirty="0">
              <a:solidFill>
                <a:schemeClr val="tx1"/>
              </a:solidFill>
            </a:endParaRPr>
          </a:p>
          <a:p>
            <a:r>
              <a:rPr lang="en-US" b="1" u="sng" dirty="0"/>
              <a:t> 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4C528C61-47DD-497B-B4A7-A39084EA02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0973" y="2334258"/>
            <a:ext cx="114300" cy="10160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7E701282-9B56-2BD7-A2C3-A98CC3EBF4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9391" y="2286716"/>
            <a:ext cx="101600" cy="16510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410B22E2-E3B0-34CA-93DC-7AF10C48B0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6805" y="3007391"/>
            <a:ext cx="381000" cy="215900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21C69474-E8C1-6F09-F22E-308AC5D603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8327" y="3001043"/>
            <a:ext cx="1308100" cy="228600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2FE2D459-E883-92FB-7A75-C08136458B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78327" y="3308383"/>
            <a:ext cx="914400" cy="228600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FE8F679E-63B5-2104-3C70-EBE6B4B9AE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4470" y="3887177"/>
            <a:ext cx="381000" cy="215900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01EB48D8-1BAA-09AF-9F37-27E5AAE0D7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27859" y="3951006"/>
            <a:ext cx="114300" cy="101600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22498ADE-4202-0AA7-0516-700AE3F28C8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38475" y="2682601"/>
            <a:ext cx="571500" cy="114300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F85B563A-4DBE-2595-9206-2EEC500B526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58403" y="5954801"/>
            <a:ext cx="1511300" cy="2159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6033C29E-7847-5F3A-D4B7-B4F2DB216BF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16271" y="2267492"/>
            <a:ext cx="368300" cy="228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17FF864-D841-A077-011A-8D8A3AD143E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61977" y="4244621"/>
            <a:ext cx="368300" cy="228600"/>
          </a:xfrm>
          <a:prstGeom prst="rect">
            <a:avLst/>
          </a:prstGeom>
        </p:spPr>
      </p:pic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767C9A-3939-0147-AE5C-B566B11F801B}"/>
              </a:ext>
            </a:extLst>
          </p:cNvPr>
          <p:cNvGrpSpPr/>
          <p:nvPr/>
        </p:nvGrpSpPr>
        <p:grpSpPr>
          <a:xfrm>
            <a:off x="8039540" y="1826476"/>
            <a:ext cx="1232404" cy="958015"/>
            <a:chOff x="8150087" y="1902784"/>
            <a:chExt cx="1232404" cy="958015"/>
          </a:xfrm>
        </p:grpSpPr>
        <p:grpSp>
          <p:nvGrpSpPr>
            <p:cNvPr id="6" name="Groupe 5">
              <a:extLst>
                <a:ext uri="{FF2B5EF4-FFF2-40B4-BE49-F238E27FC236}">
                  <a16:creationId xmlns:a16="http://schemas.microsoft.com/office/drawing/2014/main" id="{71A15CCC-0212-4549-940F-E052A652C63D}"/>
                </a:ext>
              </a:extLst>
            </p:cNvPr>
            <p:cNvGrpSpPr/>
            <p:nvPr/>
          </p:nvGrpSpPr>
          <p:grpSpPr>
            <a:xfrm>
              <a:off x="8150087" y="1902784"/>
              <a:ext cx="1232404" cy="958015"/>
              <a:chOff x="8390093" y="2201792"/>
              <a:chExt cx="1232404" cy="958015"/>
            </a:xfrm>
          </p:grpSpPr>
          <p:sp>
            <p:nvSpPr>
              <p:cNvPr id="5" name="Ellipse 4">
                <a:extLst>
                  <a:ext uri="{FF2B5EF4-FFF2-40B4-BE49-F238E27FC236}">
                    <a16:creationId xmlns:a16="http://schemas.microsoft.com/office/drawing/2014/main" id="{0AF60F5F-248D-CD48-8B08-AEE39147196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390093" y="2201792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332C8814-7C1C-FD48-8AC8-97298F77E94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262497" y="2201792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9112C696-BCFA-E146-94C7-56406A4C828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800471" y="2799807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EF0578DB-29EE-7D47-B237-9AC162AD0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288811" y="2008100"/>
              <a:ext cx="88900" cy="152400"/>
            </a:xfrm>
            <a:prstGeom prst="rect">
              <a:avLst/>
            </a:prstGeom>
          </p:spPr>
        </p:pic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91AA888C-1136-B74E-AA4B-3382D4928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156528" y="2013158"/>
              <a:ext cx="101600" cy="152400"/>
            </a:xfrm>
            <a:prstGeom prst="rect">
              <a:avLst/>
            </a:prstGeom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D0642175-FF64-EE49-B47D-5304A498F4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695306" y="2604826"/>
              <a:ext cx="101600" cy="152400"/>
            </a:xfrm>
            <a:prstGeom prst="rect">
              <a:avLst/>
            </a:prstGeom>
          </p:spPr>
        </p:pic>
        <p:cxnSp>
          <p:nvCxnSpPr>
            <p:cNvPr id="12" name="Connecteur droit avec flèche 11">
              <a:extLst>
                <a:ext uri="{FF2B5EF4-FFF2-40B4-BE49-F238E27FC236}">
                  <a16:creationId xmlns:a16="http://schemas.microsoft.com/office/drawing/2014/main" id="{ED31270D-72BB-914E-9CFE-EECE35B64B74}"/>
                </a:ext>
              </a:extLst>
            </p:cNvPr>
            <p:cNvCxnSpPr>
              <a:stCxn id="5" idx="6"/>
              <a:endCxn id="24" idx="2"/>
            </p:cNvCxnSpPr>
            <p:nvPr/>
          </p:nvCxnSpPr>
          <p:spPr>
            <a:xfrm>
              <a:off x="8510087" y="2082784"/>
              <a:ext cx="512404" cy="0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avec flèche 27">
              <a:extLst>
                <a:ext uri="{FF2B5EF4-FFF2-40B4-BE49-F238E27FC236}">
                  <a16:creationId xmlns:a16="http://schemas.microsoft.com/office/drawing/2014/main" id="{18591A43-E1BD-C94B-9A76-8984659FF681}"/>
                </a:ext>
              </a:extLst>
            </p:cNvPr>
            <p:cNvCxnSpPr>
              <a:cxnSpLocks/>
              <a:stCxn id="5" idx="5"/>
              <a:endCxn id="26" idx="1"/>
            </p:cNvCxnSpPr>
            <p:nvPr/>
          </p:nvCxnSpPr>
          <p:spPr>
            <a:xfrm>
              <a:off x="8457366" y="2210063"/>
              <a:ext cx="155820" cy="343457"/>
            </a:xfrm>
            <a:prstGeom prst="straightConnector1">
              <a:avLst/>
            </a:prstGeom>
            <a:ln w="635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avec flèche 29">
              <a:extLst>
                <a:ext uri="{FF2B5EF4-FFF2-40B4-BE49-F238E27FC236}">
                  <a16:creationId xmlns:a16="http://schemas.microsoft.com/office/drawing/2014/main" id="{E7E67D04-EE5A-C147-AD64-E5061B0CCAFD}"/>
                </a:ext>
              </a:extLst>
            </p:cNvPr>
            <p:cNvCxnSpPr>
              <a:cxnSpLocks/>
              <a:stCxn id="24" idx="3"/>
              <a:endCxn id="26" idx="7"/>
            </p:cNvCxnSpPr>
            <p:nvPr/>
          </p:nvCxnSpPr>
          <p:spPr>
            <a:xfrm flipH="1">
              <a:off x="8867744" y="2210063"/>
              <a:ext cx="207468" cy="343457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e 47">
            <a:extLst>
              <a:ext uri="{FF2B5EF4-FFF2-40B4-BE49-F238E27FC236}">
                <a16:creationId xmlns:a16="http://schemas.microsoft.com/office/drawing/2014/main" id="{884E36A0-2D3C-344C-879B-15E41FFED128}"/>
              </a:ext>
            </a:extLst>
          </p:cNvPr>
          <p:cNvGrpSpPr/>
          <p:nvPr/>
        </p:nvGrpSpPr>
        <p:grpSpPr>
          <a:xfrm>
            <a:off x="7960604" y="3180815"/>
            <a:ext cx="1489435" cy="1061315"/>
            <a:chOff x="8851769" y="2496092"/>
            <a:chExt cx="1489435" cy="1061315"/>
          </a:xfrm>
        </p:grpSpPr>
        <p:grpSp>
          <p:nvGrpSpPr>
            <p:cNvPr id="36" name="Groupe 35">
              <a:extLst>
                <a:ext uri="{FF2B5EF4-FFF2-40B4-BE49-F238E27FC236}">
                  <a16:creationId xmlns:a16="http://schemas.microsoft.com/office/drawing/2014/main" id="{881D36B5-FDE7-DE4A-B729-CDEEC0C2CC8D}"/>
                </a:ext>
              </a:extLst>
            </p:cNvPr>
            <p:cNvGrpSpPr/>
            <p:nvPr/>
          </p:nvGrpSpPr>
          <p:grpSpPr>
            <a:xfrm>
              <a:off x="8930705" y="2599392"/>
              <a:ext cx="1232404" cy="958015"/>
              <a:chOff x="8150087" y="1902784"/>
              <a:chExt cx="1232404" cy="958015"/>
            </a:xfrm>
          </p:grpSpPr>
          <p:grpSp>
            <p:nvGrpSpPr>
              <p:cNvPr id="37" name="Groupe 36">
                <a:extLst>
                  <a:ext uri="{FF2B5EF4-FFF2-40B4-BE49-F238E27FC236}">
                    <a16:creationId xmlns:a16="http://schemas.microsoft.com/office/drawing/2014/main" id="{8403D0F1-8D66-EE45-AC2D-A32554CD3BFD}"/>
                  </a:ext>
                </a:extLst>
              </p:cNvPr>
              <p:cNvGrpSpPr/>
              <p:nvPr/>
            </p:nvGrpSpPr>
            <p:grpSpPr>
              <a:xfrm>
                <a:off x="8150087" y="1902784"/>
                <a:ext cx="1232404" cy="958015"/>
                <a:chOff x="8390093" y="2201792"/>
                <a:chExt cx="1232404" cy="958015"/>
              </a:xfrm>
            </p:grpSpPr>
            <p:sp>
              <p:nvSpPr>
                <p:cNvPr id="44" name="Ellipse 43">
                  <a:extLst>
                    <a:ext uri="{FF2B5EF4-FFF2-40B4-BE49-F238E27FC236}">
                      <a16:creationId xmlns:a16="http://schemas.microsoft.com/office/drawing/2014/main" id="{0006D62C-126B-2F46-835C-4A78AC9CD9B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90093" y="2201792"/>
                  <a:ext cx="360000" cy="360000"/>
                </a:xfrm>
                <a:prstGeom prst="ellipse">
                  <a:avLst/>
                </a:prstGeom>
                <a:noFill/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46" name="Ellipse 45">
                  <a:extLst>
                    <a:ext uri="{FF2B5EF4-FFF2-40B4-BE49-F238E27FC236}">
                      <a16:creationId xmlns:a16="http://schemas.microsoft.com/office/drawing/2014/main" id="{61A463D9-548B-4743-A555-8B2793C3521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262497" y="2201792"/>
                  <a:ext cx="360000" cy="360000"/>
                </a:xfrm>
                <a:prstGeom prst="ellipse">
                  <a:avLst/>
                </a:prstGeom>
                <a:noFill/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47" name="Ellipse 46">
                  <a:extLst>
                    <a:ext uri="{FF2B5EF4-FFF2-40B4-BE49-F238E27FC236}">
                      <a16:creationId xmlns:a16="http://schemas.microsoft.com/office/drawing/2014/main" id="{E0D9D14D-517A-2845-BFA8-C0FB9777B75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800471" y="2799807"/>
                  <a:ext cx="360000" cy="360000"/>
                </a:xfrm>
                <a:prstGeom prst="ellipse">
                  <a:avLst/>
                </a:prstGeom>
                <a:noFill/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pic>
            <p:nvPicPr>
              <p:cNvPr id="38" name="Image 37">
                <a:extLst>
                  <a:ext uri="{FF2B5EF4-FFF2-40B4-BE49-F238E27FC236}">
                    <a16:creationId xmlns:a16="http://schemas.microsoft.com/office/drawing/2014/main" id="{C15DCF06-22C6-074D-AE26-F04B548B63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288811" y="2008100"/>
                <a:ext cx="88900" cy="152400"/>
              </a:xfrm>
              <a:prstGeom prst="rect">
                <a:avLst/>
              </a:prstGeom>
            </p:spPr>
          </p:pic>
          <p:pic>
            <p:nvPicPr>
              <p:cNvPr id="39" name="Image 38">
                <a:extLst>
                  <a:ext uri="{FF2B5EF4-FFF2-40B4-BE49-F238E27FC236}">
                    <a16:creationId xmlns:a16="http://schemas.microsoft.com/office/drawing/2014/main" id="{13B46158-DFCF-5F43-A0E7-C991B0C313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9156528" y="2013158"/>
                <a:ext cx="101600" cy="152400"/>
              </a:xfrm>
              <a:prstGeom prst="rect">
                <a:avLst/>
              </a:prstGeom>
            </p:spPr>
          </p:pic>
          <p:pic>
            <p:nvPicPr>
              <p:cNvPr id="40" name="Image 39">
                <a:extLst>
                  <a:ext uri="{FF2B5EF4-FFF2-40B4-BE49-F238E27FC236}">
                    <a16:creationId xmlns:a16="http://schemas.microsoft.com/office/drawing/2014/main" id="{407DD219-E4CA-D848-AC75-BB9D2F85A1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695306" y="2604826"/>
                <a:ext cx="101600" cy="152400"/>
              </a:xfrm>
              <a:prstGeom prst="rect">
                <a:avLst/>
              </a:prstGeom>
            </p:spPr>
          </p:pic>
          <p:cxnSp>
            <p:nvCxnSpPr>
              <p:cNvPr id="41" name="Connecteur droit avec flèche 40">
                <a:extLst>
                  <a:ext uri="{FF2B5EF4-FFF2-40B4-BE49-F238E27FC236}">
                    <a16:creationId xmlns:a16="http://schemas.microsoft.com/office/drawing/2014/main" id="{58B0FF91-8C93-4A4A-A2D1-80597235AF57}"/>
                  </a:ext>
                </a:extLst>
              </p:cNvPr>
              <p:cNvCxnSpPr>
                <a:stCxn id="44" idx="6"/>
                <a:endCxn id="46" idx="2"/>
              </p:cNvCxnSpPr>
              <p:nvPr/>
            </p:nvCxnSpPr>
            <p:spPr>
              <a:xfrm>
                <a:off x="8510087" y="2082784"/>
                <a:ext cx="512404" cy="0"/>
              </a:xfrm>
              <a:prstGeom prst="straightConnector1">
                <a:avLst/>
              </a:prstGeom>
              <a:ln w="317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necteur droit avec flèche 41">
                <a:extLst>
                  <a:ext uri="{FF2B5EF4-FFF2-40B4-BE49-F238E27FC236}">
                    <a16:creationId xmlns:a16="http://schemas.microsoft.com/office/drawing/2014/main" id="{9CCB76A1-57AF-E84E-98AE-E3B83EF47D2A}"/>
                  </a:ext>
                </a:extLst>
              </p:cNvPr>
              <p:cNvCxnSpPr>
                <a:cxnSpLocks/>
                <a:stCxn id="44" idx="5"/>
                <a:endCxn id="47" idx="1"/>
              </p:cNvCxnSpPr>
              <p:nvPr/>
            </p:nvCxnSpPr>
            <p:spPr>
              <a:xfrm>
                <a:off x="8457366" y="2210063"/>
                <a:ext cx="155820" cy="343457"/>
              </a:xfrm>
              <a:prstGeom prst="straightConnector1">
                <a:avLst/>
              </a:prstGeom>
              <a:ln w="635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Connecteur droit avec flèche 42">
                <a:extLst>
                  <a:ext uri="{FF2B5EF4-FFF2-40B4-BE49-F238E27FC236}">
                    <a16:creationId xmlns:a16="http://schemas.microsoft.com/office/drawing/2014/main" id="{57E8DEA3-D514-434B-8F79-59FDEFA45DC6}"/>
                  </a:ext>
                </a:extLst>
              </p:cNvPr>
              <p:cNvCxnSpPr>
                <a:cxnSpLocks/>
                <a:stCxn id="46" idx="3"/>
                <a:endCxn id="47" idx="7"/>
              </p:cNvCxnSpPr>
              <p:nvPr/>
            </p:nvCxnSpPr>
            <p:spPr>
              <a:xfrm flipH="1">
                <a:off x="8867744" y="2210063"/>
                <a:ext cx="207468" cy="343457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D6AF0FD-F95E-2541-B73F-42087FA1037E}"/>
                </a:ext>
              </a:extLst>
            </p:cNvPr>
            <p:cNvSpPr/>
            <p:nvPr/>
          </p:nvSpPr>
          <p:spPr>
            <a:xfrm>
              <a:off x="8851769" y="2496092"/>
              <a:ext cx="1489435" cy="582307"/>
            </a:xfrm>
            <a:prstGeom prst="rect">
              <a:avLst/>
            </a:prstGeom>
            <a:noFill/>
            <a:ln w="22225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2" name="Groupe 61">
            <a:extLst>
              <a:ext uri="{FF2B5EF4-FFF2-40B4-BE49-F238E27FC236}">
                <a16:creationId xmlns:a16="http://schemas.microsoft.com/office/drawing/2014/main" id="{7F5E3D7D-3BFE-A240-8FA6-B9DDB1029C8B}"/>
              </a:ext>
            </a:extLst>
          </p:cNvPr>
          <p:cNvGrpSpPr/>
          <p:nvPr/>
        </p:nvGrpSpPr>
        <p:grpSpPr>
          <a:xfrm>
            <a:off x="8288044" y="4641521"/>
            <a:ext cx="733680" cy="360000"/>
            <a:chOff x="9150928" y="4258458"/>
            <a:chExt cx="733680" cy="360000"/>
          </a:xfrm>
        </p:grpSpPr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1003D212-F74D-FA40-9E1E-8E438ABDA9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50928" y="4258458"/>
              <a:ext cx="733680" cy="36000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51" name="Image 50">
              <a:extLst>
                <a:ext uri="{FF2B5EF4-FFF2-40B4-BE49-F238E27FC236}">
                  <a16:creationId xmlns:a16="http://schemas.microsoft.com/office/drawing/2014/main" id="{7746B6E7-9F60-1843-822D-0502A92AD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351850" y="4362258"/>
              <a:ext cx="88900" cy="152400"/>
            </a:xfrm>
            <a:prstGeom prst="rect">
              <a:avLst/>
            </a:prstGeom>
          </p:spPr>
        </p:pic>
        <p:pic>
          <p:nvPicPr>
            <p:cNvPr id="52" name="Image 51">
              <a:extLst>
                <a:ext uri="{FF2B5EF4-FFF2-40B4-BE49-F238E27FC236}">
                  <a16:creationId xmlns:a16="http://schemas.microsoft.com/office/drawing/2014/main" id="{061D34AC-B30B-7747-9D99-E6F5FE515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598516" y="4356475"/>
              <a:ext cx="101600" cy="152400"/>
            </a:xfrm>
            <a:prstGeom prst="rect">
              <a:avLst/>
            </a:prstGeom>
          </p:spPr>
        </p:pic>
      </p:grpSp>
      <p:grpSp>
        <p:nvGrpSpPr>
          <p:cNvPr id="63" name="Groupe 62">
            <a:extLst>
              <a:ext uri="{FF2B5EF4-FFF2-40B4-BE49-F238E27FC236}">
                <a16:creationId xmlns:a16="http://schemas.microsoft.com/office/drawing/2014/main" id="{689C6787-8611-C347-9C5C-B32C5C78E612}"/>
              </a:ext>
            </a:extLst>
          </p:cNvPr>
          <p:cNvGrpSpPr/>
          <p:nvPr/>
        </p:nvGrpSpPr>
        <p:grpSpPr>
          <a:xfrm>
            <a:off x="8463647" y="5380939"/>
            <a:ext cx="360000" cy="360000"/>
            <a:chOff x="9326531" y="4997876"/>
            <a:chExt cx="360000" cy="360000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2DF968AC-700B-394D-A187-2FECA81AC7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26531" y="4997876"/>
              <a:ext cx="360000" cy="36000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53" name="Image 52">
              <a:extLst>
                <a:ext uri="{FF2B5EF4-FFF2-40B4-BE49-F238E27FC236}">
                  <a16:creationId xmlns:a16="http://schemas.microsoft.com/office/drawing/2014/main" id="{4856F712-F27F-E142-BB2F-9B48E4E58E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461372" y="5101903"/>
              <a:ext cx="101600" cy="152400"/>
            </a:xfrm>
            <a:prstGeom prst="rect">
              <a:avLst/>
            </a:prstGeom>
          </p:spPr>
        </p:pic>
      </p:grp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9FAA65FF-2752-714D-A09C-D9AB03D2B408}"/>
              </a:ext>
            </a:extLst>
          </p:cNvPr>
          <p:cNvCxnSpPr>
            <a:cxnSpLocks/>
            <a:stCxn id="58" idx="4"/>
            <a:endCxn id="59" idx="0"/>
          </p:cNvCxnSpPr>
          <p:nvPr/>
        </p:nvCxnSpPr>
        <p:spPr>
          <a:xfrm flipH="1">
            <a:off x="8643647" y="5001521"/>
            <a:ext cx="11237" cy="379418"/>
          </a:xfrm>
          <a:prstGeom prst="straightConnector1">
            <a:avLst/>
          </a:prstGeom>
          <a:ln w="635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>
            <a:extLst>
              <a:ext uri="{FF2B5EF4-FFF2-40B4-BE49-F238E27FC236}">
                <a16:creationId xmlns:a16="http://schemas.microsoft.com/office/drawing/2014/main" id="{80D5B2A2-2A3B-5F43-A131-13F06AA05817}"/>
              </a:ext>
            </a:extLst>
          </p:cNvPr>
          <p:cNvCxnSpPr>
            <a:cxnSpLocks/>
          </p:cNvCxnSpPr>
          <p:nvPr/>
        </p:nvCxnSpPr>
        <p:spPr>
          <a:xfrm>
            <a:off x="848018" y="4354557"/>
            <a:ext cx="294414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770A3135-A540-4947-AAB1-DBC3E0EBD307}"/>
              </a:ext>
            </a:extLst>
          </p:cNvPr>
          <p:cNvSpPr txBox="1">
            <a:spLocks/>
          </p:cNvSpPr>
          <p:nvPr/>
        </p:nvSpPr>
        <p:spPr>
          <a:xfrm>
            <a:off x="1732660" y="1820600"/>
            <a:ext cx="4272496" cy="458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MG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alauzènes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Irurozki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lémençon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2023]</a:t>
            </a:r>
          </a:p>
        </p:txBody>
      </p:sp>
      <p:grpSp>
        <p:nvGrpSpPr>
          <p:cNvPr id="54" name="Groupe 53">
            <a:extLst>
              <a:ext uri="{FF2B5EF4-FFF2-40B4-BE49-F238E27FC236}">
                <a16:creationId xmlns:a16="http://schemas.microsoft.com/office/drawing/2014/main" id="{38F28F21-E749-554F-9FD4-4DA410A4CD11}"/>
              </a:ext>
            </a:extLst>
          </p:cNvPr>
          <p:cNvGrpSpPr/>
          <p:nvPr/>
        </p:nvGrpSpPr>
        <p:grpSpPr>
          <a:xfrm>
            <a:off x="9669181" y="1826476"/>
            <a:ext cx="1232404" cy="958015"/>
            <a:chOff x="8150087" y="1902784"/>
            <a:chExt cx="1232404" cy="958015"/>
          </a:xfrm>
        </p:grpSpPr>
        <p:grpSp>
          <p:nvGrpSpPr>
            <p:cNvPr id="56" name="Groupe 55">
              <a:extLst>
                <a:ext uri="{FF2B5EF4-FFF2-40B4-BE49-F238E27FC236}">
                  <a16:creationId xmlns:a16="http://schemas.microsoft.com/office/drawing/2014/main" id="{415BD4AA-40C0-8E44-B9FE-585E9B161FA6}"/>
                </a:ext>
              </a:extLst>
            </p:cNvPr>
            <p:cNvGrpSpPr/>
            <p:nvPr/>
          </p:nvGrpSpPr>
          <p:grpSpPr>
            <a:xfrm>
              <a:off x="8150087" y="1902784"/>
              <a:ext cx="1232404" cy="958015"/>
              <a:chOff x="8390093" y="2201792"/>
              <a:chExt cx="1232404" cy="958015"/>
            </a:xfrm>
          </p:grpSpPr>
          <p:sp>
            <p:nvSpPr>
              <p:cNvPr id="69" name="Ellipse 68">
                <a:extLst>
                  <a:ext uri="{FF2B5EF4-FFF2-40B4-BE49-F238E27FC236}">
                    <a16:creationId xmlns:a16="http://schemas.microsoft.com/office/drawing/2014/main" id="{FCC64172-611A-D042-B637-2716B398BCF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390093" y="2201792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70" name="Ellipse 69">
                <a:extLst>
                  <a:ext uri="{FF2B5EF4-FFF2-40B4-BE49-F238E27FC236}">
                    <a16:creationId xmlns:a16="http://schemas.microsoft.com/office/drawing/2014/main" id="{E861FEE7-A15F-0640-8BA2-C89A29FFDB3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262497" y="2201792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71" name="Ellipse 70">
                <a:extLst>
                  <a:ext uri="{FF2B5EF4-FFF2-40B4-BE49-F238E27FC236}">
                    <a16:creationId xmlns:a16="http://schemas.microsoft.com/office/drawing/2014/main" id="{74A9558D-AC07-644A-AE39-F3EA852C75A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800471" y="2799807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pic>
          <p:nvPicPr>
            <p:cNvPr id="57" name="Image 56">
              <a:extLst>
                <a:ext uri="{FF2B5EF4-FFF2-40B4-BE49-F238E27FC236}">
                  <a16:creationId xmlns:a16="http://schemas.microsoft.com/office/drawing/2014/main" id="{64329E01-752C-6149-B338-7DC783C11E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288811" y="2008100"/>
              <a:ext cx="88900" cy="152400"/>
            </a:xfrm>
            <a:prstGeom prst="rect">
              <a:avLst/>
            </a:prstGeom>
          </p:spPr>
        </p:pic>
        <p:pic>
          <p:nvPicPr>
            <p:cNvPr id="60" name="Image 59">
              <a:extLst>
                <a:ext uri="{FF2B5EF4-FFF2-40B4-BE49-F238E27FC236}">
                  <a16:creationId xmlns:a16="http://schemas.microsoft.com/office/drawing/2014/main" id="{7DC944EA-1891-D145-8665-BF462589C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156528" y="2013158"/>
              <a:ext cx="101600" cy="152400"/>
            </a:xfrm>
            <a:prstGeom prst="rect">
              <a:avLst/>
            </a:prstGeom>
          </p:spPr>
        </p:pic>
        <p:pic>
          <p:nvPicPr>
            <p:cNvPr id="61" name="Image 60">
              <a:extLst>
                <a:ext uri="{FF2B5EF4-FFF2-40B4-BE49-F238E27FC236}">
                  <a16:creationId xmlns:a16="http://schemas.microsoft.com/office/drawing/2014/main" id="{14301D3A-EF9A-084E-AF3A-71A55D0F5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695306" y="2604826"/>
              <a:ext cx="101600" cy="152400"/>
            </a:xfrm>
            <a:prstGeom prst="rect">
              <a:avLst/>
            </a:prstGeom>
          </p:spPr>
        </p:pic>
        <p:cxnSp>
          <p:nvCxnSpPr>
            <p:cNvPr id="64" name="Connecteur droit avec flèche 63">
              <a:extLst>
                <a:ext uri="{FF2B5EF4-FFF2-40B4-BE49-F238E27FC236}">
                  <a16:creationId xmlns:a16="http://schemas.microsoft.com/office/drawing/2014/main" id="{D8573684-1D24-904C-9308-BC6A4A962119}"/>
                </a:ext>
              </a:extLst>
            </p:cNvPr>
            <p:cNvCxnSpPr>
              <a:stCxn id="69" idx="6"/>
              <a:endCxn id="70" idx="2"/>
            </p:cNvCxnSpPr>
            <p:nvPr/>
          </p:nvCxnSpPr>
          <p:spPr>
            <a:xfrm>
              <a:off x="8510087" y="2082784"/>
              <a:ext cx="512404" cy="0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necteur droit avec flèche 65">
              <a:extLst>
                <a:ext uri="{FF2B5EF4-FFF2-40B4-BE49-F238E27FC236}">
                  <a16:creationId xmlns:a16="http://schemas.microsoft.com/office/drawing/2014/main" id="{8B5FCD28-93A2-414E-A132-02A5A9C57179}"/>
                </a:ext>
              </a:extLst>
            </p:cNvPr>
            <p:cNvCxnSpPr>
              <a:cxnSpLocks/>
              <a:stCxn id="69" idx="5"/>
              <a:endCxn id="71" idx="1"/>
            </p:cNvCxnSpPr>
            <p:nvPr/>
          </p:nvCxnSpPr>
          <p:spPr>
            <a:xfrm>
              <a:off x="8457366" y="2210063"/>
              <a:ext cx="155820" cy="343457"/>
            </a:xfrm>
            <a:prstGeom prst="straightConnector1">
              <a:avLst/>
            </a:prstGeom>
            <a:ln w="635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necteur droit avec flèche 67">
              <a:extLst>
                <a:ext uri="{FF2B5EF4-FFF2-40B4-BE49-F238E27FC236}">
                  <a16:creationId xmlns:a16="http://schemas.microsoft.com/office/drawing/2014/main" id="{9852A857-C50E-CC45-BC21-676CFB60837C}"/>
                </a:ext>
              </a:extLst>
            </p:cNvPr>
            <p:cNvCxnSpPr>
              <a:cxnSpLocks/>
              <a:stCxn id="70" idx="3"/>
              <a:endCxn id="71" idx="7"/>
            </p:cNvCxnSpPr>
            <p:nvPr/>
          </p:nvCxnSpPr>
          <p:spPr>
            <a:xfrm flipH="1">
              <a:off x="8867744" y="2210063"/>
              <a:ext cx="207468" cy="343457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e 71">
            <a:extLst>
              <a:ext uri="{FF2B5EF4-FFF2-40B4-BE49-F238E27FC236}">
                <a16:creationId xmlns:a16="http://schemas.microsoft.com/office/drawing/2014/main" id="{6A31C0D4-FE3F-EC4D-BA13-510547E38564}"/>
              </a:ext>
            </a:extLst>
          </p:cNvPr>
          <p:cNvGrpSpPr/>
          <p:nvPr/>
        </p:nvGrpSpPr>
        <p:grpSpPr>
          <a:xfrm>
            <a:off x="9669181" y="3094498"/>
            <a:ext cx="1232404" cy="1324064"/>
            <a:chOff x="8930705" y="2409775"/>
            <a:chExt cx="1232404" cy="1324064"/>
          </a:xfrm>
        </p:grpSpPr>
        <p:grpSp>
          <p:nvGrpSpPr>
            <p:cNvPr id="73" name="Groupe 72">
              <a:extLst>
                <a:ext uri="{FF2B5EF4-FFF2-40B4-BE49-F238E27FC236}">
                  <a16:creationId xmlns:a16="http://schemas.microsoft.com/office/drawing/2014/main" id="{E7E19CCF-723B-214E-BAC2-24C6B739DBB4}"/>
                </a:ext>
              </a:extLst>
            </p:cNvPr>
            <p:cNvGrpSpPr/>
            <p:nvPr/>
          </p:nvGrpSpPr>
          <p:grpSpPr>
            <a:xfrm>
              <a:off x="8930705" y="2599392"/>
              <a:ext cx="1232404" cy="958015"/>
              <a:chOff x="8150087" y="1902784"/>
              <a:chExt cx="1232404" cy="958015"/>
            </a:xfrm>
          </p:grpSpPr>
          <p:grpSp>
            <p:nvGrpSpPr>
              <p:cNvPr id="75" name="Groupe 74">
                <a:extLst>
                  <a:ext uri="{FF2B5EF4-FFF2-40B4-BE49-F238E27FC236}">
                    <a16:creationId xmlns:a16="http://schemas.microsoft.com/office/drawing/2014/main" id="{505935AC-F2FE-3849-8F63-14B6FD171CA5}"/>
                  </a:ext>
                </a:extLst>
              </p:cNvPr>
              <p:cNvGrpSpPr/>
              <p:nvPr/>
            </p:nvGrpSpPr>
            <p:grpSpPr>
              <a:xfrm>
                <a:off x="8150087" y="1902784"/>
                <a:ext cx="1232404" cy="958015"/>
                <a:chOff x="8390093" y="2201792"/>
                <a:chExt cx="1232404" cy="958015"/>
              </a:xfrm>
            </p:grpSpPr>
            <p:sp>
              <p:nvSpPr>
                <p:cNvPr id="82" name="Ellipse 81">
                  <a:extLst>
                    <a:ext uri="{FF2B5EF4-FFF2-40B4-BE49-F238E27FC236}">
                      <a16:creationId xmlns:a16="http://schemas.microsoft.com/office/drawing/2014/main" id="{3F422E9B-1C4B-1744-B87F-1AA733E9BC5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390093" y="2201792"/>
                  <a:ext cx="360000" cy="360000"/>
                </a:xfrm>
                <a:prstGeom prst="ellipse">
                  <a:avLst/>
                </a:prstGeom>
                <a:noFill/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3" name="Ellipse 82">
                  <a:extLst>
                    <a:ext uri="{FF2B5EF4-FFF2-40B4-BE49-F238E27FC236}">
                      <a16:creationId xmlns:a16="http://schemas.microsoft.com/office/drawing/2014/main" id="{EDB37BFE-FE67-764A-A242-BAE56617F4C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262497" y="2201792"/>
                  <a:ext cx="360000" cy="360000"/>
                </a:xfrm>
                <a:prstGeom prst="ellipse">
                  <a:avLst/>
                </a:prstGeom>
                <a:noFill/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84" name="Ellipse 83">
                  <a:extLst>
                    <a:ext uri="{FF2B5EF4-FFF2-40B4-BE49-F238E27FC236}">
                      <a16:creationId xmlns:a16="http://schemas.microsoft.com/office/drawing/2014/main" id="{1686B544-87F0-A447-AF22-9AB8ABCC6D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800471" y="2799807"/>
                  <a:ext cx="360000" cy="360000"/>
                </a:xfrm>
                <a:prstGeom prst="ellipse">
                  <a:avLst/>
                </a:prstGeom>
                <a:noFill/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pic>
            <p:nvPicPr>
              <p:cNvPr id="76" name="Image 75">
                <a:extLst>
                  <a:ext uri="{FF2B5EF4-FFF2-40B4-BE49-F238E27FC236}">
                    <a16:creationId xmlns:a16="http://schemas.microsoft.com/office/drawing/2014/main" id="{D95D6965-9989-0D46-9950-714932E79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8288811" y="2008100"/>
                <a:ext cx="88900" cy="152400"/>
              </a:xfrm>
              <a:prstGeom prst="rect">
                <a:avLst/>
              </a:prstGeom>
            </p:spPr>
          </p:pic>
          <p:pic>
            <p:nvPicPr>
              <p:cNvPr id="77" name="Image 76">
                <a:extLst>
                  <a:ext uri="{FF2B5EF4-FFF2-40B4-BE49-F238E27FC236}">
                    <a16:creationId xmlns:a16="http://schemas.microsoft.com/office/drawing/2014/main" id="{8617D44A-8D05-3248-BD76-21F9FB56AD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9156528" y="2013158"/>
                <a:ext cx="101600" cy="152400"/>
              </a:xfrm>
              <a:prstGeom prst="rect">
                <a:avLst/>
              </a:prstGeom>
            </p:spPr>
          </p:pic>
          <p:pic>
            <p:nvPicPr>
              <p:cNvPr id="78" name="Image 77">
                <a:extLst>
                  <a:ext uri="{FF2B5EF4-FFF2-40B4-BE49-F238E27FC236}">
                    <a16:creationId xmlns:a16="http://schemas.microsoft.com/office/drawing/2014/main" id="{579265F5-5EB2-CF4D-998E-13951E72C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695306" y="2604826"/>
                <a:ext cx="101600" cy="152400"/>
              </a:xfrm>
              <a:prstGeom prst="rect">
                <a:avLst/>
              </a:prstGeom>
            </p:spPr>
          </p:pic>
          <p:cxnSp>
            <p:nvCxnSpPr>
              <p:cNvPr id="79" name="Connecteur droit avec flèche 78">
                <a:extLst>
                  <a:ext uri="{FF2B5EF4-FFF2-40B4-BE49-F238E27FC236}">
                    <a16:creationId xmlns:a16="http://schemas.microsoft.com/office/drawing/2014/main" id="{23516830-5B2A-9B4D-BF09-D204055861DE}"/>
                  </a:ext>
                </a:extLst>
              </p:cNvPr>
              <p:cNvCxnSpPr>
                <a:stCxn id="82" idx="6"/>
                <a:endCxn id="83" idx="2"/>
              </p:cNvCxnSpPr>
              <p:nvPr/>
            </p:nvCxnSpPr>
            <p:spPr>
              <a:xfrm>
                <a:off x="8510087" y="2082784"/>
                <a:ext cx="512404" cy="0"/>
              </a:xfrm>
              <a:prstGeom prst="straightConnector1">
                <a:avLst/>
              </a:prstGeom>
              <a:ln w="317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Connecteur droit avec flèche 79">
                <a:extLst>
                  <a:ext uri="{FF2B5EF4-FFF2-40B4-BE49-F238E27FC236}">
                    <a16:creationId xmlns:a16="http://schemas.microsoft.com/office/drawing/2014/main" id="{3C6CF55E-3017-C744-AEEA-1E7E7A025960}"/>
                  </a:ext>
                </a:extLst>
              </p:cNvPr>
              <p:cNvCxnSpPr>
                <a:cxnSpLocks/>
                <a:stCxn id="82" idx="5"/>
                <a:endCxn id="84" idx="1"/>
              </p:cNvCxnSpPr>
              <p:nvPr/>
            </p:nvCxnSpPr>
            <p:spPr>
              <a:xfrm>
                <a:off x="8457366" y="2210063"/>
                <a:ext cx="155820" cy="343457"/>
              </a:xfrm>
              <a:prstGeom prst="straightConnector1">
                <a:avLst/>
              </a:prstGeom>
              <a:ln w="635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Connecteur droit avec flèche 80">
                <a:extLst>
                  <a:ext uri="{FF2B5EF4-FFF2-40B4-BE49-F238E27FC236}">
                    <a16:creationId xmlns:a16="http://schemas.microsoft.com/office/drawing/2014/main" id="{8C72365C-1328-4340-A101-C38948D95797}"/>
                  </a:ext>
                </a:extLst>
              </p:cNvPr>
              <p:cNvCxnSpPr>
                <a:cxnSpLocks/>
                <a:stCxn id="83" idx="3"/>
                <a:endCxn id="84" idx="7"/>
              </p:cNvCxnSpPr>
              <p:nvPr/>
            </p:nvCxnSpPr>
            <p:spPr>
              <a:xfrm flipH="1">
                <a:off x="8867744" y="2210063"/>
                <a:ext cx="207468" cy="343457"/>
              </a:xfrm>
              <a:prstGeom prst="straightConnector1">
                <a:avLst/>
              </a:prstGeom>
              <a:ln w="127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D10C9FF7-A462-DA4B-9EE8-3E5529985D61}"/>
                </a:ext>
              </a:extLst>
            </p:cNvPr>
            <p:cNvSpPr/>
            <p:nvPr/>
          </p:nvSpPr>
          <p:spPr>
            <a:xfrm rot="18239040">
              <a:off x="9111437" y="2780653"/>
              <a:ext cx="1324064" cy="582307"/>
            </a:xfrm>
            <a:prstGeom prst="rect">
              <a:avLst/>
            </a:prstGeom>
            <a:noFill/>
            <a:ln w="22225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85" name="Groupe 84">
            <a:extLst>
              <a:ext uri="{FF2B5EF4-FFF2-40B4-BE49-F238E27FC236}">
                <a16:creationId xmlns:a16="http://schemas.microsoft.com/office/drawing/2014/main" id="{70A00D0E-53B0-374A-86AF-9C7E69EC5D6B}"/>
              </a:ext>
            </a:extLst>
          </p:cNvPr>
          <p:cNvGrpSpPr/>
          <p:nvPr/>
        </p:nvGrpSpPr>
        <p:grpSpPr>
          <a:xfrm>
            <a:off x="10099420" y="4660144"/>
            <a:ext cx="366840" cy="360000"/>
            <a:chOff x="9150928" y="4258458"/>
            <a:chExt cx="366840" cy="360000"/>
          </a:xfrm>
        </p:grpSpPr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EFD897CC-0C41-8A48-9F32-27266CF43C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50928" y="4258458"/>
              <a:ext cx="366840" cy="36000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87" name="Image 86">
              <a:extLst>
                <a:ext uri="{FF2B5EF4-FFF2-40B4-BE49-F238E27FC236}">
                  <a16:creationId xmlns:a16="http://schemas.microsoft.com/office/drawing/2014/main" id="{35310B04-A257-4648-979C-56D790114E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294250" y="4369458"/>
              <a:ext cx="88900" cy="152400"/>
            </a:xfrm>
            <a:prstGeom prst="rect">
              <a:avLst/>
            </a:prstGeom>
          </p:spPr>
        </p:pic>
      </p:grpSp>
      <p:cxnSp>
        <p:nvCxnSpPr>
          <p:cNvPr id="92" name="Connecteur droit avec flèche 91">
            <a:extLst>
              <a:ext uri="{FF2B5EF4-FFF2-40B4-BE49-F238E27FC236}">
                <a16:creationId xmlns:a16="http://schemas.microsoft.com/office/drawing/2014/main" id="{B20B5CF0-91B9-7B44-AE19-A321183576B5}"/>
              </a:ext>
            </a:extLst>
          </p:cNvPr>
          <p:cNvCxnSpPr>
            <a:cxnSpLocks/>
            <a:stCxn id="86" idx="4"/>
            <a:endCxn id="90" idx="0"/>
          </p:cNvCxnSpPr>
          <p:nvPr/>
        </p:nvCxnSpPr>
        <p:spPr>
          <a:xfrm flipH="1">
            <a:off x="10281797" y="5020144"/>
            <a:ext cx="1043" cy="360795"/>
          </a:xfrm>
          <a:prstGeom prst="straightConnector1">
            <a:avLst/>
          </a:prstGeom>
          <a:ln w="635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826B9D38-00E8-E643-BBA7-640452655925}"/>
              </a:ext>
            </a:extLst>
          </p:cNvPr>
          <p:cNvGrpSpPr/>
          <p:nvPr/>
        </p:nvGrpSpPr>
        <p:grpSpPr>
          <a:xfrm>
            <a:off x="9959105" y="5380939"/>
            <a:ext cx="645383" cy="360000"/>
            <a:chOff x="9959105" y="5380939"/>
            <a:chExt cx="645383" cy="360000"/>
          </a:xfrm>
        </p:grpSpPr>
        <p:grpSp>
          <p:nvGrpSpPr>
            <p:cNvPr id="89" name="Groupe 88">
              <a:extLst>
                <a:ext uri="{FF2B5EF4-FFF2-40B4-BE49-F238E27FC236}">
                  <a16:creationId xmlns:a16="http://schemas.microsoft.com/office/drawing/2014/main" id="{15131F98-B827-DC46-AB1B-9064819A74AA}"/>
                </a:ext>
              </a:extLst>
            </p:cNvPr>
            <p:cNvGrpSpPr/>
            <p:nvPr/>
          </p:nvGrpSpPr>
          <p:grpSpPr>
            <a:xfrm>
              <a:off x="9959105" y="5380939"/>
              <a:ext cx="645383" cy="360000"/>
              <a:chOff x="9192348" y="4997876"/>
              <a:chExt cx="645383" cy="360000"/>
            </a:xfrm>
          </p:grpSpPr>
          <p:sp>
            <p:nvSpPr>
              <p:cNvPr id="90" name="Ellipse 89">
                <a:extLst>
                  <a:ext uri="{FF2B5EF4-FFF2-40B4-BE49-F238E27FC236}">
                    <a16:creationId xmlns:a16="http://schemas.microsoft.com/office/drawing/2014/main" id="{917E5DC4-9DD6-DE4B-986D-CB1DFF90D77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192348" y="4997876"/>
                <a:ext cx="645383" cy="360000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91" name="Image 90">
                <a:extLst>
                  <a:ext uri="{FF2B5EF4-FFF2-40B4-BE49-F238E27FC236}">
                    <a16:creationId xmlns:a16="http://schemas.microsoft.com/office/drawing/2014/main" id="{B37B2D66-EDCE-DD49-A3D0-FF793B4216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9612572" y="5101903"/>
                <a:ext cx="101600" cy="152400"/>
              </a:xfrm>
              <a:prstGeom prst="rect">
                <a:avLst/>
              </a:prstGeom>
            </p:spPr>
          </p:pic>
        </p:grpSp>
        <p:pic>
          <p:nvPicPr>
            <p:cNvPr id="93" name="Image 92">
              <a:extLst>
                <a:ext uri="{FF2B5EF4-FFF2-40B4-BE49-F238E27FC236}">
                  <a16:creationId xmlns:a16="http://schemas.microsoft.com/office/drawing/2014/main" id="{BABC3BBA-4623-C348-B779-D5FFD7166B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111880" y="5484739"/>
              <a:ext cx="101600" cy="152400"/>
            </a:xfrm>
            <a:prstGeom prst="rect">
              <a:avLst/>
            </a:prstGeom>
          </p:spPr>
        </p:pic>
      </p:grpSp>
      <p:pic>
        <p:nvPicPr>
          <p:cNvPr id="94" name="Image 93">
            <a:extLst>
              <a:ext uri="{FF2B5EF4-FFF2-40B4-BE49-F238E27FC236}">
                <a16:creationId xmlns:a16="http://schemas.microsoft.com/office/drawing/2014/main" id="{1A571D53-BDED-6749-AB39-B74854C68A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4238" y="1371958"/>
            <a:ext cx="101600" cy="165100"/>
          </a:xfrm>
          <a:prstGeom prst="rect">
            <a:avLst/>
          </a:prstGeom>
        </p:spPr>
      </p:pic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1B032C27-F125-8946-B9F2-FAE7B8EC1FCD}"/>
              </a:ext>
            </a:extLst>
          </p:cNvPr>
          <p:cNvSpPr txBox="1">
            <a:spLocks/>
          </p:cNvSpPr>
          <p:nvPr/>
        </p:nvSpPr>
        <p:spPr>
          <a:xfrm>
            <a:off x="8485012" y="1248363"/>
            <a:ext cx="508710" cy="4084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ym typeface="Wingdings" pitchFamily="2" charset="2"/>
              </a:rPr>
              <a:t>big</a:t>
            </a:r>
          </a:p>
        </p:txBody>
      </p:sp>
      <p:pic>
        <p:nvPicPr>
          <p:cNvPr id="96" name="Image 95">
            <a:extLst>
              <a:ext uri="{FF2B5EF4-FFF2-40B4-BE49-F238E27FC236}">
                <a16:creationId xmlns:a16="http://schemas.microsoft.com/office/drawing/2014/main" id="{440B78BB-B536-7644-AB29-1E7A85A01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37940" y="1375428"/>
            <a:ext cx="101600" cy="165100"/>
          </a:xfrm>
          <a:prstGeom prst="rect">
            <a:avLst/>
          </a:prstGeom>
        </p:spPr>
      </p:pic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AC6D8B60-EF2E-AE4F-92D0-40F9A7CD4326}"/>
              </a:ext>
            </a:extLst>
          </p:cNvPr>
          <p:cNvSpPr txBox="1">
            <a:spLocks/>
          </p:cNvSpPr>
          <p:nvPr/>
        </p:nvSpPr>
        <p:spPr>
          <a:xfrm>
            <a:off x="10058714" y="1251833"/>
            <a:ext cx="652248" cy="4084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ym typeface="Wingdings" pitchFamily="2" charset="2"/>
              </a:rPr>
              <a:t>small</a:t>
            </a:r>
          </a:p>
        </p:txBody>
      </p:sp>
    </p:spTree>
    <p:extLst>
      <p:ext uri="{BB962C8B-B14F-4D97-AF65-F5344CB8AC3E}">
        <p14:creationId xmlns:p14="http://schemas.microsoft.com/office/powerpoint/2010/main" val="144415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006" y="396811"/>
            <a:ext cx="10208027" cy="817529"/>
          </a:xfrm>
        </p:spPr>
        <p:txBody>
          <a:bodyPr>
            <a:normAutofit/>
          </a:bodyPr>
          <a:lstStyle/>
          <a:p>
            <a:pPr marL="11113"/>
            <a:r>
              <a:rPr lang="en-US" sz="3200" dirty="0"/>
              <a:t>Content Overview</a:t>
            </a:r>
            <a:endParaRPr lang="en-GB" sz="3200" dirty="0"/>
          </a:p>
        </p:txBody>
      </p:sp>
      <p:pic>
        <p:nvPicPr>
          <p:cNvPr id="55" name="Image 54" descr="Une image contenant texte&#10;&#10;Description générée automatiquement">
            <a:extLst>
              <a:ext uri="{FF2B5EF4-FFF2-40B4-BE49-F238E27FC236}">
                <a16:creationId xmlns:a16="http://schemas.microsoft.com/office/drawing/2014/main" id="{836A739C-CA2A-C6A4-1F78-07A724B86B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E22348E-1982-3E6C-6CA0-E33E7CB68247}"/>
              </a:ext>
            </a:extLst>
          </p:cNvPr>
          <p:cNvSpPr txBox="1">
            <a:spLocks/>
          </p:cNvSpPr>
          <p:nvPr/>
        </p:nvSpPr>
        <p:spPr>
          <a:xfrm>
            <a:off x="441005" y="1214340"/>
            <a:ext cx="9395598" cy="50873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rabicParenR"/>
            </a:pPr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Outline and Motivation</a:t>
            </a:r>
          </a:p>
          <a:p>
            <a:pPr marL="342900" indent="-342900">
              <a:buAutoNum type="arabicParenR"/>
            </a:pPr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Robust Consensus Ranking via Bucket-based Plugin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Introduction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Previous works: classical methods to solve the Consensus Ranking task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Previous works: classical statistical robustness concepts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Contribution 1: evaluating the robustness of Consensus Ranking statistics 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Contribution 2: bucket-based plugin to </a:t>
            </a:r>
            <a:r>
              <a:rPr lang="en-US" dirty="0" err="1">
                <a:solidFill>
                  <a:schemeClr val="tx1"/>
                </a:solidFill>
                <a:sym typeface="Wingdings" pitchFamily="2" charset="2"/>
              </a:rPr>
              <a:t>robustify</a:t>
            </a: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 Consensus Ranking statistics</a:t>
            </a:r>
          </a:p>
          <a:p>
            <a:pPr marL="342900" indent="-342900">
              <a:buFont typeface="+mj-lt"/>
              <a:buAutoNum type="arabicParenR"/>
            </a:pPr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Detecting Adversarial Attacks in DNNs by Studying their Topology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Introduction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Previous works: adversarial attacks and defense in deep learning 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Previous works: topological data analysis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Contribution 1: the under-optimized edges hypothesis</a:t>
            </a:r>
          </a:p>
          <a:p>
            <a:pPr marL="800089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sym typeface="Wingdings" pitchFamily="2" charset="2"/>
              </a:rPr>
              <a:t>Contribution 2: detecting adversarial examples</a:t>
            </a:r>
            <a:endParaRPr lang="en-US" dirty="0">
              <a:solidFill>
                <a:schemeClr val="tx2"/>
              </a:solidFill>
              <a:sym typeface="Wingdings" pitchFamily="2" charset="2"/>
            </a:endParaRPr>
          </a:p>
          <a:p>
            <a:pPr marL="342900" indent="-342900">
              <a:buFont typeface="+mj-lt"/>
              <a:buAutoNum type="arabicParenR"/>
            </a:pPr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Conclusion</a:t>
            </a:r>
          </a:p>
          <a:p>
            <a:endParaRPr lang="en-US" dirty="0">
              <a:solidFill>
                <a:schemeClr val="tx1"/>
              </a:solidFill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055091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2"/>
            <a:ext cx="10208027" cy="584776"/>
          </a:xfrm>
        </p:spPr>
        <p:txBody>
          <a:bodyPr>
            <a:normAutofit/>
          </a:bodyPr>
          <a:lstStyle/>
          <a:p>
            <a:r>
              <a:rPr lang="en-US" sz="3200" dirty="0">
                <a:latin typeface="Hurme Geometric Sans 4 SemiBold" panose="020B0A00020000000000" pitchFamily="34" charset="77"/>
                <a:sym typeface="Wingdings" pitchFamily="2" charset="2"/>
              </a:rPr>
              <a:t>Bucket-Based Plugin to </a:t>
            </a:r>
            <a:r>
              <a:rPr lang="en-US" sz="3200" dirty="0" err="1">
                <a:latin typeface="Hurme Geometric Sans 4 SemiBold" panose="020B0A00020000000000" pitchFamily="34" charset="77"/>
                <a:sym typeface="Wingdings" pitchFamily="2" charset="2"/>
              </a:rPr>
              <a:t>Robustify</a:t>
            </a:r>
            <a:r>
              <a:rPr lang="en-US" sz="3200" dirty="0">
                <a:latin typeface="Hurme Geometric Sans 4 SemiBold" panose="020B0A00020000000000" pitchFamily="34" charset="77"/>
                <a:sym typeface="Wingdings" pitchFamily="2" charset="2"/>
              </a:rPr>
              <a:t> Consensus Statistics</a:t>
            </a:r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C7204EB-FB2B-484A-2774-9351ED9361FC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Experiment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6E7DB78-6DCD-2353-BE12-177A0AE3AA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018" y="1666217"/>
            <a:ext cx="4572000" cy="32004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6F44F1B5-E516-677F-5CDE-C7B6C46718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2031" y="1666217"/>
            <a:ext cx="4572000" cy="3247159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7CA791C-C7D6-CA49-BC5A-517418A138A9}"/>
              </a:ext>
            </a:extLst>
          </p:cNvPr>
          <p:cNvSpPr txBox="1">
            <a:spLocks/>
          </p:cNvSpPr>
          <p:nvPr/>
        </p:nvSpPr>
        <p:spPr>
          <a:xfrm>
            <a:off x="831367" y="5176239"/>
            <a:ext cx="8401124" cy="421766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ym typeface="Wingdings" pitchFamily="2" charset="2"/>
              </a:rPr>
              <a:t>Message</a:t>
            </a:r>
            <a:r>
              <a:rPr lang="en-US" sz="1600" dirty="0">
                <a:sym typeface="Wingdings" pitchFamily="2" charset="2"/>
              </a:rPr>
              <a:t>: our bucket-based plugin is a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much better compromise </a:t>
            </a:r>
            <a:r>
              <a:rPr lang="en-US" sz="1600" dirty="0">
                <a:sym typeface="Wingdings" pitchFamily="2" charset="2"/>
              </a:rPr>
              <a:t>than classical </a:t>
            </a:r>
            <a:r>
              <a:rPr lang="en-US" sz="1600" dirty="0" err="1">
                <a:sym typeface="Wingdings" pitchFamily="2" charset="2"/>
              </a:rPr>
              <a:t>Kemeny’s</a:t>
            </a:r>
            <a:r>
              <a:rPr lang="en-US" sz="1600" dirty="0">
                <a:sym typeface="Wingdings" pitchFamily="2" charset="2"/>
              </a:rPr>
              <a:t> consensus!</a:t>
            </a:r>
          </a:p>
        </p:txBody>
      </p:sp>
    </p:spTree>
    <p:extLst>
      <p:ext uri="{BB962C8B-B14F-4D97-AF65-F5344CB8AC3E}">
        <p14:creationId xmlns:p14="http://schemas.microsoft.com/office/powerpoint/2010/main" val="37885760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2"/>
            <a:ext cx="10208027" cy="584776"/>
          </a:xfrm>
        </p:spPr>
        <p:txBody>
          <a:bodyPr>
            <a:normAutofit/>
          </a:bodyPr>
          <a:lstStyle/>
          <a:p>
            <a:r>
              <a:rPr lang="en-US" sz="3200" dirty="0">
                <a:sym typeface="Wingdings" pitchFamily="2" charset="2"/>
              </a:rPr>
              <a:t>Robust Consensus Ranking via Bucket-based Plugin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FC7204EB-FB2B-484A-2774-9351ED9361FC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Conclusion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3B99E4B-9283-17B5-04B6-D10AA9C553CF}"/>
              </a:ext>
            </a:extLst>
          </p:cNvPr>
          <p:cNvSpPr txBox="1">
            <a:spLocks/>
          </p:cNvSpPr>
          <p:nvPr/>
        </p:nvSpPr>
        <p:spPr>
          <a:xfrm>
            <a:off x="464451" y="1649197"/>
            <a:ext cx="9346830" cy="48119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Takeaways:</a:t>
            </a:r>
            <a:endParaRPr lang="en-US" sz="1600" b="1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arenR"/>
            </a:pPr>
            <a:r>
              <a:rPr lang="en-US" sz="1600" dirty="0">
                <a:solidFill>
                  <a:schemeClr val="tx2"/>
                </a:solidFill>
              </a:rPr>
              <a:t>Practical</a:t>
            </a:r>
            <a:r>
              <a:rPr lang="en-US" sz="1600" dirty="0"/>
              <a:t> </a:t>
            </a:r>
            <a:r>
              <a:rPr lang="en-US" sz="1600" dirty="0">
                <a:solidFill>
                  <a:schemeClr val="tx2"/>
                </a:solidFill>
              </a:rPr>
              <a:t>evaluation</a:t>
            </a:r>
            <a:r>
              <a:rPr lang="en-US" sz="1600" dirty="0"/>
              <a:t> of the robustness of </a:t>
            </a:r>
            <a:r>
              <a:rPr lang="en-US" sz="1600" dirty="0">
                <a:solidFill>
                  <a:schemeClr val="tx2"/>
                </a:solidFill>
              </a:rPr>
              <a:t>any statistics </a:t>
            </a:r>
            <a:r>
              <a:rPr lang="en-US" sz="1600" dirty="0"/>
              <a:t>(+ theoretical bounds)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Computationally efficient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plugin  complexity in             or</a:t>
            </a:r>
          </a:p>
          <a:p>
            <a:pPr>
              <a:lnSpc>
                <a:spcPct val="100000"/>
              </a:lnSpc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Limitation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arenR"/>
            </a:pPr>
            <a:r>
              <a:rPr lang="en-US" sz="1600" dirty="0">
                <a:solidFill>
                  <a:schemeClr val="accent2"/>
                </a:solidFill>
              </a:rPr>
              <a:t>Breakdown function </a:t>
            </a:r>
            <a:r>
              <a:rPr lang="en-US" sz="1600" dirty="0"/>
              <a:t>evaluation still </a:t>
            </a:r>
            <a:r>
              <a:rPr lang="en-US" sz="1600" dirty="0">
                <a:solidFill>
                  <a:schemeClr val="accent2"/>
                </a:solidFill>
              </a:rPr>
              <a:t>computationally expensiv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Open questions:</a:t>
            </a:r>
            <a:endParaRPr lang="en-US" sz="1600" dirty="0">
              <a:solidFill>
                <a:schemeClr val="accent2"/>
              </a:solidFill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arenR"/>
            </a:pPr>
            <a:r>
              <a:rPr lang="en-US" sz="1600" dirty="0">
                <a:solidFill>
                  <a:schemeClr val="accent4">
                    <a:lumMod val="50000"/>
                  </a:schemeClr>
                </a:solidFill>
              </a:rPr>
              <a:t>Overcome limitation!</a:t>
            </a:r>
            <a:endParaRPr lang="en-US" sz="1600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arenR"/>
            </a:pPr>
            <a:r>
              <a:rPr lang="en-US" sz="1600" dirty="0">
                <a:solidFill>
                  <a:schemeClr val="accent4">
                    <a:lumMod val="50000"/>
                  </a:schemeClr>
                </a:solidFill>
              </a:rPr>
              <a:t>Application</a:t>
            </a:r>
            <a:r>
              <a:rPr lang="en-US" sz="1600" dirty="0"/>
              <a:t> to practical setups (top-k ranking, etc.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9AD5E42-541C-F69F-B29A-1E3176182D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0693" y="2421910"/>
            <a:ext cx="1092200" cy="2413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C9A7098-8CA3-2A57-EF27-4645A4BB51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9845" y="2421910"/>
            <a:ext cx="520700" cy="24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7541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41BACE-647B-4FD1-9C69-FD868CBE2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5386" y="727202"/>
            <a:ext cx="9634422" cy="3254400"/>
          </a:xfrm>
        </p:spPr>
        <p:txBody>
          <a:bodyPr>
            <a:normAutofit/>
          </a:bodyPr>
          <a:lstStyle/>
          <a:p>
            <a:r>
              <a:rPr lang="en-US" dirty="0">
                <a:sym typeface="Wingdings" pitchFamily="2" charset="2"/>
              </a:rPr>
              <a:t>Detecting Adversarial Attacks in DNNs by Studying their Topology</a:t>
            </a:r>
          </a:p>
        </p:txBody>
      </p: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2E872277-AE56-5715-F673-0F70C29CF3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6588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Introduction</a:t>
            </a:r>
            <a:endParaRPr lang="en-GB" sz="3200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Neural Networks</a:t>
            </a:r>
          </a:p>
        </p:txBody>
      </p: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FFE9FD5C-E826-1D4D-A962-9340744312BF}"/>
              </a:ext>
            </a:extLst>
          </p:cNvPr>
          <p:cNvGrpSpPr/>
          <p:nvPr/>
        </p:nvGrpSpPr>
        <p:grpSpPr>
          <a:xfrm>
            <a:off x="352302" y="2037830"/>
            <a:ext cx="5761226" cy="1652839"/>
            <a:chOff x="401162" y="1140044"/>
            <a:chExt cx="5761226" cy="1652839"/>
          </a:xfrm>
        </p:grpSpPr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C5CCECB1-1B09-5249-BF52-1C2FE4791EA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87088" y="2137913"/>
              <a:ext cx="5575300" cy="215900"/>
            </a:xfrm>
            <a:prstGeom prst="rect">
              <a:avLst/>
            </a:prstGeom>
          </p:spPr>
        </p:pic>
        <p:sp>
          <p:nvSpPr>
            <p:cNvPr id="34" name="Text Placeholder 4">
              <a:extLst>
                <a:ext uri="{FF2B5EF4-FFF2-40B4-BE49-F238E27FC236}">
                  <a16:creationId xmlns:a16="http://schemas.microsoft.com/office/drawing/2014/main" id="{254EF3C3-23CA-3441-AEFD-E5DC65462E63}"/>
                </a:ext>
              </a:extLst>
            </p:cNvPr>
            <p:cNvSpPr txBox="1">
              <a:spLocks/>
            </p:cNvSpPr>
            <p:nvPr/>
          </p:nvSpPr>
          <p:spPr>
            <a:xfrm>
              <a:off x="459151" y="2393054"/>
              <a:ext cx="1265533" cy="399829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bg1">
                      <a:lumMod val="75000"/>
                    </a:schemeClr>
                  </a:solidFill>
                </a:rPr>
                <a:t>feature map</a:t>
              </a:r>
            </a:p>
          </p:txBody>
        </p:sp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CB231CC0-94C5-5C42-AB56-0FEE2176DA1E}"/>
                </a:ext>
              </a:extLst>
            </p:cNvPr>
            <p:cNvSpPr>
              <a:spLocks noChangeAspect="1"/>
            </p:cNvSpPr>
            <p:nvPr/>
          </p:nvSpPr>
          <p:spPr>
            <a:xfrm rot="8211529">
              <a:off x="401162" y="1848984"/>
              <a:ext cx="575229" cy="565305"/>
            </a:xfrm>
            <a:prstGeom prst="arc">
              <a:avLst>
                <a:gd name="adj1" fmla="val 17425592"/>
                <a:gd name="adj2" fmla="val 20220752"/>
              </a:avLst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0" name="Arc 39">
              <a:extLst>
                <a:ext uri="{FF2B5EF4-FFF2-40B4-BE49-F238E27FC236}">
                  <a16:creationId xmlns:a16="http://schemas.microsoft.com/office/drawing/2014/main" id="{FF685ECA-FF49-E942-A4C1-4E998D229010}"/>
                </a:ext>
              </a:extLst>
            </p:cNvPr>
            <p:cNvSpPr>
              <a:spLocks noChangeAspect="1"/>
            </p:cNvSpPr>
            <p:nvPr/>
          </p:nvSpPr>
          <p:spPr>
            <a:xfrm rot="8211529">
              <a:off x="2160413" y="1140044"/>
              <a:ext cx="1305613" cy="1283088"/>
            </a:xfrm>
            <a:prstGeom prst="arc">
              <a:avLst>
                <a:gd name="adj1" fmla="val 17425592"/>
                <a:gd name="adj2" fmla="val 20220752"/>
              </a:avLst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1" name="Text Placeholder 4">
              <a:extLst>
                <a:ext uri="{FF2B5EF4-FFF2-40B4-BE49-F238E27FC236}">
                  <a16:creationId xmlns:a16="http://schemas.microsoft.com/office/drawing/2014/main" id="{D25B3521-7BD6-C441-BBCC-DB124C31C2B9}"/>
                </a:ext>
              </a:extLst>
            </p:cNvPr>
            <p:cNvSpPr txBox="1">
              <a:spLocks/>
            </p:cNvSpPr>
            <p:nvPr/>
          </p:nvSpPr>
          <p:spPr>
            <a:xfrm>
              <a:off x="2357265" y="2393054"/>
              <a:ext cx="2387412" cy="399829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bg1">
                      <a:lumMod val="75000"/>
                    </a:schemeClr>
                  </a:solidFill>
                </a:rPr>
                <a:t>Activation function (</a:t>
              </a:r>
              <a:r>
                <a:rPr lang="en-US" sz="1600" dirty="0" err="1">
                  <a:solidFill>
                    <a:schemeClr val="bg1">
                      <a:lumMod val="75000"/>
                    </a:schemeClr>
                  </a:solidFill>
                </a:rPr>
                <a:t>ReLU</a:t>
              </a:r>
              <a:r>
                <a:rPr lang="en-US" sz="1600" dirty="0">
                  <a:solidFill>
                    <a:schemeClr val="bg1">
                      <a:lumMod val="75000"/>
                    </a:schemeClr>
                  </a:solidFill>
                </a:rPr>
                <a:t>)</a:t>
              </a:r>
            </a:p>
          </p:txBody>
        </p:sp>
      </p:grpSp>
      <p:sp>
        <p:nvSpPr>
          <p:cNvPr id="48" name="Arc 47">
            <a:extLst>
              <a:ext uri="{FF2B5EF4-FFF2-40B4-BE49-F238E27FC236}">
                <a16:creationId xmlns:a16="http://schemas.microsoft.com/office/drawing/2014/main" id="{1FE3DAA3-80D0-474E-978B-0312EA06AB5C}"/>
              </a:ext>
            </a:extLst>
          </p:cNvPr>
          <p:cNvSpPr>
            <a:spLocks noChangeAspect="1"/>
          </p:cNvSpPr>
          <p:nvPr/>
        </p:nvSpPr>
        <p:spPr>
          <a:xfrm rot="8211529">
            <a:off x="8156895" y="1501774"/>
            <a:ext cx="2906362" cy="2856220"/>
          </a:xfrm>
          <a:prstGeom prst="arc">
            <a:avLst>
              <a:gd name="adj1" fmla="val 17425592"/>
              <a:gd name="adj2" fmla="val 20220752"/>
            </a:avLst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2562977"/>
            <a:ext cx="10574609" cy="42084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Definition:</a:t>
            </a:r>
            <a:r>
              <a:rPr lang="en-US" sz="1600" b="1" dirty="0"/>
              <a:t>      </a:t>
            </a:r>
            <a:r>
              <a:rPr lang="en-US" sz="1600" dirty="0"/>
              <a:t>is a </a:t>
            </a:r>
            <a:r>
              <a:rPr lang="en-US" sz="1600" dirty="0">
                <a:solidFill>
                  <a:schemeClr val="tx2"/>
                </a:solidFill>
              </a:rPr>
              <a:t>MLP</a:t>
            </a:r>
            <a:r>
              <a:rPr lang="en-US" sz="1600" dirty="0"/>
              <a:t> on a K classes problem with      layers </a:t>
            </a:r>
            <a:r>
              <a:rPr lang="en-US" sz="1600" dirty="0" err="1"/>
              <a:t>iif</a:t>
            </a:r>
            <a:r>
              <a:rPr lang="en-US" sz="1600" dirty="0"/>
              <a:t>:                                                                                                              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  <a:p>
            <a:pPr>
              <a:spcAft>
                <a:spcPts val="1000"/>
              </a:spcAft>
            </a:pPr>
            <a:endParaRPr lang="en-US" sz="1600" dirty="0"/>
          </a:p>
          <a:p>
            <a:pPr>
              <a:spcBef>
                <a:spcPts val="1200"/>
              </a:spcBef>
            </a:pPr>
            <a:r>
              <a:rPr lang="en-US" sz="1600" b="1" u="sng" dirty="0"/>
              <a:t>Evaluation:</a:t>
            </a:r>
            <a:r>
              <a:rPr lang="en-US" sz="1600" dirty="0"/>
              <a:t> the </a:t>
            </a:r>
            <a:r>
              <a:rPr lang="en-US" sz="1600" dirty="0">
                <a:solidFill>
                  <a:schemeClr val="tx2"/>
                </a:solidFill>
              </a:rPr>
              <a:t>accuracy</a:t>
            </a:r>
            <a:r>
              <a:rPr lang="en-US" sz="1600" dirty="0"/>
              <a:t> of a neural network      on distribution            is             </a:t>
            </a:r>
          </a:p>
          <a:p>
            <a:r>
              <a:rPr lang="en-US" sz="1600" dirty="0"/>
              <a:t> </a:t>
            </a:r>
          </a:p>
          <a:p>
            <a:endParaRPr lang="en-US" sz="1600" dirty="0"/>
          </a:p>
          <a:p>
            <a:pPr>
              <a:spcBef>
                <a:spcPts val="0"/>
              </a:spcBef>
            </a:pPr>
            <a:r>
              <a:rPr lang="en-US" sz="1600" b="1" u="sng" dirty="0"/>
              <a:t>Training:</a:t>
            </a:r>
            <a:r>
              <a:rPr lang="en-US" sz="1600" dirty="0"/>
              <a:t> the objective is to find the </a:t>
            </a:r>
            <a:r>
              <a:rPr lang="en-US" sz="1600" dirty="0">
                <a:solidFill>
                  <a:schemeClr val="tx2"/>
                </a:solidFill>
              </a:rPr>
              <a:t>optimal parameters</a:t>
            </a:r>
            <a:r>
              <a:rPr lang="en-US" sz="1600" dirty="0"/>
              <a:t>, which is achieve through </a:t>
            </a:r>
            <a:r>
              <a:rPr lang="en-US" sz="1600" dirty="0">
                <a:solidFill>
                  <a:schemeClr val="tx2"/>
                </a:solidFill>
              </a:rPr>
              <a:t>SGD</a:t>
            </a:r>
            <a:r>
              <a:rPr lang="en-US" sz="1600" dirty="0"/>
              <a:t> on the following </a:t>
            </a:r>
            <a:r>
              <a:rPr lang="en-US" sz="1600" dirty="0" err="1"/>
              <a:t>optim</a:t>
            </a:r>
            <a:r>
              <a:rPr lang="en-US" sz="1600" dirty="0"/>
              <a:t>. problem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1F62B778-081E-B24F-9210-A1AB9F7D64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6309" y="2670599"/>
            <a:ext cx="177800" cy="203200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CD825165-35AE-7142-A9E2-930E5EE971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0913" y="2680396"/>
            <a:ext cx="139700" cy="152400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CFA46EA3-5708-874B-8E2D-97E4006030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46455" y="2647081"/>
            <a:ext cx="3517900" cy="33020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CE2FA55A-DCD0-8F45-8528-AF5A3FFD5D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1686" y="3038826"/>
            <a:ext cx="1524000" cy="228600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F1B7B9C2-232C-DC42-9090-119A70A8ED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2507" y="3038826"/>
            <a:ext cx="330200" cy="165100"/>
          </a:xfrm>
          <a:prstGeom prst="rect">
            <a:avLst/>
          </a:prstGeom>
        </p:spPr>
      </p:pic>
      <p:pic>
        <p:nvPicPr>
          <p:cNvPr id="43" name="Image 42">
            <a:extLst>
              <a:ext uri="{FF2B5EF4-FFF2-40B4-BE49-F238E27FC236}">
                <a16:creationId xmlns:a16="http://schemas.microsoft.com/office/drawing/2014/main" id="{2AC8CB60-FC8B-7046-851F-C4710AB834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4743" y="3962606"/>
            <a:ext cx="177800" cy="203200"/>
          </a:xfrm>
          <a:prstGeom prst="rect">
            <a:avLst/>
          </a:prstGeom>
        </p:spPr>
      </p:pic>
      <p:pic>
        <p:nvPicPr>
          <p:cNvPr id="44" name="Image 43">
            <a:extLst>
              <a:ext uri="{FF2B5EF4-FFF2-40B4-BE49-F238E27FC236}">
                <a16:creationId xmlns:a16="http://schemas.microsoft.com/office/drawing/2014/main" id="{DDFA40EA-6BC6-664C-8EE4-03908C78BB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84639" y="3993334"/>
            <a:ext cx="431800" cy="203200"/>
          </a:xfrm>
          <a:prstGeom prst="rect">
            <a:avLst/>
          </a:prstGeom>
        </p:spPr>
      </p:pic>
      <p:pic>
        <p:nvPicPr>
          <p:cNvPr id="46" name="Image 45">
            <a:extLst>
              <a:ext uri="{FF2B5EF4-FFF2-40B4-BE49-F238E27FC236}">
                <a16:creationId xmlns:a16="http://schemas.microsoft.com/office/drawing/2014/main" id="{D781309E-2882-4E48-A615-8EB5FA0EF0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96481" y="3980634"/>
            <a:ext cx="3746500" cy="228600"/>
          </a:xfrm>
          <a:prstGeom prst="rect">
            <a:avLst/>
          </a:prstGeom>
        </p:spPr>
      </p:pic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755A55BF-7C86-B843-898E-F196217DBEAA}"/>
              </a:ext>
            </a:extLst>
          </p:cNvPr>
          <p:cNvSpPr txBox="1">
            <a:spLocks/>
          </p:cNvSpPr>
          <p:nvPr/>
        </p:nvSpPr>
        <p:spPr>
          <a:xfrm>
            <a:off x="9997330" y="4247117"/>
            <a:ext cx="988598" cy="399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0-1 loss</a:t>
            </a:r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CF035219-22F9-724B-9108-138EC666622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8228" y="5366355"/>
            <a:ext cx="6172200" cy="317500"/>
          </a:xfrm>
          <a:prstGeom prst="rect">
            <a:avLst/>
          </a:prstGeom>
        </p:spPr>
      </p:pic>
      <p:sp>
        <p:nvSpPr>
          <p:cNvPr id="52" name="Arc 51">
            <a:extLst>
              <a:ext uri="{FF2B5EF4-FFF2-40B4-BE49-F238E27FC236}">
                <a16:creationId xmlns:a16="http://schemas.microsoft.com/office/drawing/2014/main" id="{3300D60C-1638-414B-B3F3-512659D71479}"/>
              </a:ext>
            </a:extLst>
          </p:cNvPr>
          <p:cNvSpPr>
            <a:spLocks noChangeAspect="1"/>
          </p:cNvSpPr>
          <p:nvPr/>
        </p:nvSpPr>
        <p:spPr>
          <a:xfrm rot="8211529">
            <a:off x="5419351" y="5248916"/>
            <a:ext cx="400018" cy="393117"/>
          </a:xfrm>
          <a:prstGeom prst="arc">
            <a:avLst>
              <a:gd name="adj1" fmla="val 17425592"/>
              <a:gd name="adj2" fmla="val 20220752"/>
            </a:avLst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1FE984E7-3666-1347-9193-48D8C3EB2E59}"/>
              </a:ext>
            </a:extLst>
          </p:cNvPr>
          <p:cNvSpPr txBox="1">
            <a:spLocks/>
          </p:cNvSpPr>
          <p:nvPr/>
        </p:nvSpPr>
        <p:spPr>
          <a:xfrm>
            <a:off x="5458862" y="5579755"/>
            <a:ext cx="3147538" cy="399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Consistent surrogate loss (CE)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5A1A939F-19E7-7D45-B1B6-E5551081BE62}"/>
              </a:ext>
            </a:extLst>
          </p:cNvPr>
          <p:cNvSpPr txBox="1">
            <a:spLocks/>
          </p:cNvSpPr>
          <p:nvPr/>
        </p:nvSpPr>
        <p:spPr>
          <a:xfrm>
            <a:off x="459151" y="1564460"/>
            <a:ext cx="9800499" cy="16581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roblem: </a:t>
            </a:r>
            <a:r>
              <a:rPr lang="en-US" sz="1600" dirty="0"/>
              <a:t>being robust to evasion attacks</a:t>
            </a:r>
          </a:p>
          <a:p>
            <a:pPr>
              <a:spcBef>
                <a:spcPts val="300"/>
              </a:spcBef>
            </a:pPr>
            <a:r>
              <a:rPr lang="en-US" sz="1600" dirty="0">
                <a:sym typeface="Wingdings" pitchFamily="2" charset="2"/>
              </a:rPr>
              <a:t>                   What are             and                       ? 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57" name="Image 56">
            <a:extLst>
              <a:ext uri="{FF2B5EF4-FFF2-40B4-BE49-F238E27FC236}">
                <a16:creationId xmlns:a16="http://schemas.microsoft.com/office/drawing/2014/main" id="{B1365B4B-E490-7D4A-AE1F-489C7727F09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22553" y="1650911"/>
            <a:ext cx="2057400" cy="215900"/>
          </a:xfrm>
          <a:prstGeom prst="rect">
            <a:avLst/>
          </a:prstGeom>
        </p:spPr>
      </p:pic>
      <p:pic>
        <p:nvPicPr>
          <p:cNvPr id="58" name="Image 57">
            <a:extLst>
              <a:ext uri="{FF2B5EF4-FFF2-40B4-BE49-F238E27FC236}">
                <a16:creationId xmlns:a16="http://schemas.microsoft.com/office/drawing/2014/main" id="{428FAB27-72EF-AE4E-9127-177803FE65B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66735" y="1656474"/>
            <a:ext cx="2628900" cy="215900"/>
          </a:xfrm>
          <a:prstGeom prst="rect">
            <a:avLst/>
          </a:prstGeom>
        </p:spPr>
      </p:pic>
      <p:pic>
        <p:nvPicPr>
          <p:cNvPr id="59" name="Image 58">
            <a:extLst>
              <a:ext uri="{FF2B5EF4-FFF2-40B4-BE49-F238E27FC236}">
                <a16:creationId xmlns:a16="http://schemas.microsoft.com/office/drawing/2014/main" id="{D514C2AD-7AD2-5C48-A719-FE0D16EEE22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50286" y="1995533"/>
            <a:ext cx="457200" cy="215900"/>
          </a:xfrm>
          <a:prstGeom prst="rect">
            <a:avLst/>
          </a:prstGeom>
        </p:spPr>
      </p:pic>
      <p:pic>
        <p:nvPicPr>
          <p:cNvPr id="60" name="Image 59">
            <a:extLst>
              <a:ext uri="{FF2B5EF4-FFF2-40B4-BE49-F238E27FC236}">
                <a16:creationId xmlns:a16="http://schemas.microsoft.com/office/drawing/2014/main" id="{DCE59D2F-46E5-644F-9791-8FF127A79BE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350184" y="2002975"/>
            <a:ext cx="977900" cy="215900"/>
          </a:xfrm>
          <a:prstGeom prst="rect">
            <a:avLst/>
          </a:prstGeom>
        </p:spPr>
      </p:pic>
      <p:grpSp>
        <p:nvGrpSpPr>
          <p:cNvPr id="69" name="Groupe 68">
            <a:extLst>
              <a:ext uri="{FF2B5EF4-FFF2-40B4-BE49-F238E27FC236}">
                <a16:creationId xmlns:a16="http://schemas.microsoft.com/office/drawing/2014/main" id="{4B1BA978-CA29-3643-BADC-6AD0C1327871}"/>
              </a:ext>
            </a:extLst>
          </p:cNvPr>
          <p:cNvGrpSpPr/>
          <p:nvPr/>
        </p:nvGrpSpPr>
        <p:grpSpPr>
          <a:xfrm>
            <a:off x="9708579" y="2587965"/>
            <a:ext cx="1875947" cy="572106"/>
            <a:chOff x="9616880" y="2961182"/>
            <a:chExt cx="1875947" cy="572106"/>
          </a:xfrm>
        </p:grpSpPr>
        <p:pic>
          <p:nvPicPr>
            <p:cNvPr id="61" name="Image 60">
              <a:extLst>
                <a:ext uri="{FF2B5EF4-FFF2-40B4-BE49-F238E27FC236}">
                  <a16:creationId xmlns:a16="http://schemas.microsoft.com/office/drawing/2014/main" id="{8AE0FEED-248C-4247-BD4B-AD3C3596DE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l="59158" t="6251"/>
            <a:stretch/>
          </p:blipFill>
          <p:spPr>
            <a:xfrm>
              <a:off x="10188710" y="3318979"/>
              <a:ext cx="1016636" cy="214309"/>
            </a:xfrm>
            <a:prstGeom prst="rect">
              <a:avLst/>
            </a:prstGeom>
          </p:spPr>
        </p:pic>
        <p:grpSp>
          <p:nvGrpSpPr>
            <p:cNvPr id="68" name="Groupe 67">
              <a:extLst>
                <a:ext uri="{FF2B5EF4-FFF2-40B4-BE49-F238E27FC236}">
                  <a16:creationId xmlns:a16="http://schemas.microsoft.com/office/drawing/2014/main" id="{76F4EE21-87E9-8E4C-A1AE-AEEEA392D610}"/>
                </a:ext>
              </a:extLst>
            </p:cNvPr>
            <p:cNvGrpSpPr/>
            <p:nvPr/>
          </p:nvGrpSpPr>
          <p:grpSpPr>
            <a:xfrm>
              <a:off x="9616880" y="2961182"/>
              <a:ext cx="1875947" cy="369332"/>
              <a:chOff x="9616880" y="2961182"/>
              <a:chExt cx="1875947" cy="369332"/>
            </a:xfrm>
          </p:grpSpPr>
          <p:pic>
            <p:nvPicPr>
              <p:cNvPr id="65" name="Image 64">
                <a:extLst>
                  <a:ext uri="{FF2B5EF4-FFF2-40B4-BE49-F238E27FC236}">
                    <a16:creationId xmlns:a16="http://schemas.microsoft.com/office/drawing/2014/main" id="{C6BE5D92-BB1C-534C-BAC3-181F1FC9318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/>
              <a:srcRect r="39690" b="2640"/>
              <a:stretch/>
            </p:blipFill>
            <p:spPr>
              <a:xfrm>
                <a:off x="9991598" y="3034490"/>
                <a:ext cx="1501229" cy="222564"/>
              </a:xfrm>
              <a:prstGeom prst="rect">
                <a:avLst/>
              </a:prstGeom>
            </p:spPr>
          </p:pic>
          <p:sp>
            <p:nvSpPr>
              <p:cNvPr id="67" name="ZoneTexte 66">
                <a:extLst>
                  <a:ext uri="{FF2B5EF4-FFF2-40B4-BE49-F238E27FC236}">
                    <a16:creationId xmlns:a16="http://schemas.microsoft.com/office/drawing/2014/main" id="{4A6EE1BE-CB30-2C45-A409-6F2DB4BBA853}"/>
                  </a:ext>
                </a:extLst>
              </p:cNvPr>
              <p:cNvSpPr txBox="1"/>
              <p:nvPr/>
            </p:nvSpPr>
            <p:spPr>
              <a:xfrm>
                <a:off x="9616880" y="2961182"/>
                <a:ext cx="47481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dirty="0">
                    <a:sym typeface="Wingdings" pitchFamily="2" charset="2"/>
                  </a:rPr>
                  <a:t> </a:t>
                </a:r>
                <a:endParaRPr lang="fr-FR" dirty="0"/>
              </a:p>
            </p:txBody>
          </p:sp>
        </p:grp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D1179E5F-9955-2948-8808-37CF7060AB1C}"/>
              </a:ext>
            </a:extLst>
          </p:cNvPr>
          <p:cNvSpPr/>
          <p:nvPr/>
        </p:nvSpPr>
        <p:spPr>
          <a:xfrm>
            <a:off x="9734598" y="2618423"/>
            <a:ext cx="1912362" cy="62092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1" name="Image 70">
            <a:extLst>
              <a:ext uri="{FF2B5EF4-FFF2-40B4-BE49-F238E27FC236}">
                <a16:creationId xmlns:a16="http://schemas.microsoft.com/office/drawing/2014/main" id="{E7F84D31-9AB0-1444-9ABD-94F01857BA63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r="66663"/>
          <a:stretch/>
        </p:blipFill>
        <p:spPr>
          <a:xfrm>
            <a:off x="9897067" y="364779"/>
            <a:ext cx="1539659" cy="1926469"/>
          </a:xfrm>
          <a:prstGeom prst="rect">
            <a:avLst/>
          </a:prstGeom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362E9144-7EB5-F94C-AA76-EA0040F0ACF4}"/>
              </a:ext>
            </a:extLst>
          </p:cNvPr>
          <p:cNvSpPr/>
          <p:nvPr/>
        </p:nvSpPr>
        <p:spPr>
          <a:xfrm>
            <a:off x="1565210" y="4316758"/>
            <a:ext cx="2457344" cy="3422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9" name="Image 78" descr="Une image contenant texte&#10;&#10;Description générée automatiquement">
            <a:extLst>
              <a:ext uri="{FF2B5EF4-FFF2-40B4-BE49-F238E27FC236}">
                <a16:creationId xmlns:a16="http://schemas.microsoft.com/office/drawing/2014/main" id="{6552CC36-EE23-0D4B-9D0E-98C8D31A665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pic>
        <p:nvPicPr>
          <p:cNvPr id="81" name="Image 80">
            <a:extLst>
              <a:ext uri="{FF2B5EF4-FFF2-40B4-BE49-F238E27FC236}">
                <a16:creationId xmlns:a16="http://schemas.microsoft.com/office/drawing/2014/main" id="{12DFA1A6-5CB6-0F46-AE02-45B4825025E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614076" y="4386010"/>
            <a:ext cx="23241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1708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CCF26D3B-53D6-FD46-955D-4184C7C143F7}"/>
              </a:ext>
            </a:extLst>
          </p:cNvPr>
          <p:cNvSpPr/>
          <p:nvPr/>
        </p:nvSpPr>
        <p:spPr>
          <a:xfrm>
            <a:off x="5661303" y="3084539"/>
            <a:ext cx="709017" cy="347065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AE530C7-75F4-5449-8FCC-97E86C6ABA4D}"/>
              </a:ext>
            </a:extLst>
          </p:cNvPr>
          <p:cNvSpPr/>
          <p:nvPr/>
        </p:nvSpPr>
        <p:spPr>
          <a:xfrm>
            <a:off x="4925657" y="3704881"/>
            <a:ext cx="735646" cy="243048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1318E5E-DBEF-C14D-9933-685B91A744C2}"/>
              </a:ext>
            </a:extLst>
          </p:cNvPr>
          <p:cNvSpPr/>
          <p:nvPr/>
        </p:nvSpPr>
        <p:spPr>
          <a:xfrm>
            <a:off x="5359398" y="4527901"/>
            <a:ext cx="1696112" cy="243048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B8CDDB3-ADCB-AE44-ABFA-ED82DA09CEF9}"/>
              </a:ext>
            </a:extLst>
          </p:cNvPr>
          <p:cNvSpPr/>
          <p:nvPr/>
        </p:nvSpPr>
        <p:spPr>
          <a:xfrm>
            <a:off x="6240418" y="2716659"/>
            <a:ext cx="1154296" cy="243048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756ADE8-3733-C54D-A359-155CD23ED23B}"/>
              </a:ext>
            </a:extLst>
          </p:cNvPr>
          <p:cNvSpPr/>
          <p:nvPr/>
        </p:nvSpPr>
        <p:spPr>
          <a:xfrm>
            <a:off x="5210977" y="4530499"/>
            <a:ext cx="148421" cy="246212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3B2A4C-2E44-B543-8409-BBA5335C569E}"/>
              </a:ext>
            </a:extLst>
          </p:cNvPr>
          <p:cNvSpPr/>
          <p:nvPr/>
        </p:nvSpPr>
        <p:spPr>
          <a:xfrm>
            <a:off x="6740011" y="3676457"/>
            <a:ext cx="1270348" cy="286906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0E22166-8445-274D-A64E-E92E98D95471}"/>
              </a:ext>
            </a:extLst>
          </p:cNvPr>
          <p:cNvSpPr/>
          <p:nvPr/>
        </p:nvSpPr>
        <p:spPr>
          <a:xfrm>
            <a:off x="6370320" y="3088037"/>
            <a:ext cx="775144" cy="260395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7688C66-A82F-3C43-9D8D-DCF085F5BA64}"/>
              </a:ext>
            </a:extLst>
          </p:cNvPr>
          <p:cNvSpPr/>
          <p:nvPr/>
        </p:nvSpPr>
        <p:spPr>
          <a:xfrm>
            <a:off x="6837107" y="2363004"/>
            <a:ext cx="1357608" cy="276560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6AF85AC-AEDF-6342-AC25-8BEBA1BB68A1}"/>
              </a:ext>
            </a:extLst>
          </p:cNvPr>
          <p:cNvSpPr/>
          <p:nvPr/>
        </p:nvSpPr>
        <p:spPr>
          <a:xfrm>
            <a:off x="2479023" y="4013946"/>
            <a:ext cx="3600930" cy="262273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DE84F75-199C-6D44-88D3-879E7807B1C3}"/>
              </a:ext>
            </a:extLst>
          </p:cNvPr>
          <p:cNvSpPr/>
          <p:nvPr/>
        </p:nvSpPr>
        <p:spPr>
          <a:xfrm>
            <a:off x="8185287" y="3095558"/>
            <a:ext cx="1335785" cy="25631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A130DE5-F78F-9548-BE7B-9AD143903540}"/>
              </a:ext>
            </a:extLst>
          </p:cNvPr>
          <p:cNvSpPr/>
          <p:nvPr/>
        </p:nvSpPr>
        <p:spPr>
          <a:xfrm>
            <a:off x="3524812" y="2381978"/>
            <a:ext cx="2368877" cy="34229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Introduction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Adversarial Attack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2300141"/>
            <a:ext cx="9800499" cy="49976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Definition of a perfect attack:</a:t>
            </a:r>
            <a:r>
              <a:rPr lang="en-US" sz="1600" dirty="0">
                <a:solidFill>
                  <a:schemeClr val="tx2"/>
                </a:solidFill>
              </a:rPr>
              <a:t>                                 </a:t>
            </a:r>
            <a:r>
              <a:rPr lang="en-US" sz="1600" dirty="0"/>
              <a:t> </a:t>
            </a:r>
          </a:p>
          <a:p>
            <a:pPr>
              <a:spcBef>
                <a:spcPts val="300"/>
              </a:spcBef>
            </a:pPr>
            <a:r>
              <a:rPr lang="en-US" sz="1600" dirty="0"/>
              <a:t>                                                                                                                   with   </a:t>
            </a:r>
          </a:p>
          <a:p>
            <a:r>
              <a:rPr lang="en-US" sz="1600" dirty="0"/>
              <a:t>                              alternatively:        </a:t>
            </a:r>
          </a:p>
          <a:p>
            <a:pPr>
              <a:spcBef>
                <a:spcPts val="2400"/>
              </a:spcBef>
            </a:pPr>
            <a:r>
              <a:rPr lang="en-US" sz="1600" b="1" u="sng" dirty="0"/>
              <a:t>Practical attacks:</a:t>
            </a:r>
          </a:p>
          <a:p>
            <a:endParaRPr lang="en-US" sz="1600" dirty="0"/>
          </a:p>
          <a:p>
            <a:pPr>
              <a:spcBef>
                <a:spcPts val="1200"/>
              </a:spcBef>
            </a:pPr>
            <a:r>
              <a:rPr lang="en-US" sz="1600" b="1" u="sng" dirty="0"/>
              <a:t>FGSM attack: 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BB730D5-202B-634D-9EE8-B58FD24BF9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637" y="3108596"/>
            <a:ext cx="6299200" cy="3175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06B588A-1816-804D-A896-1CCA5291A4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932" y="3716349"/>
            <a:ext cx="5969000" cy="2159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9CE113A7-D1F6-9247-ACC4-0050B400F3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1932" y="4035710"/>
            <a:ext cx="4076700" cy="2159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8DF7CA84-1AEC-2649-B569-1659E73B65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46910" y="4536007"/>
            <a:ext cx="5308600" cy="215900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69736E3-70FA-8E47-9D25-D811E0675005}"/>
              </a:ext>
            </a:extLst>
          </p:cNvPr>
          <p:cNvSpPr txBox="1">
            <a:spLocks/>
          </p:cNvSpPr>
          <p:nvPr/>
        </p:nvSpPr>
        <p:spPr>
          <a:xfrm>
            <a:off x="7145464" y="4429662"/>
            <a:ext cx="2275191" cy="4048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Goodfellow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4] 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8C36BA0E-9370-A54F-AD76-2F8354FCA7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54110" y="4924322"/>
            <a:ext cx="4810579" cy="1859552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040D9204-A483-5148-81A3-BAD1DFA62E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48649" y="2737532"/>
            <a:ext cx="1206500" cy="21590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99C6DB60-AE5A-824B-88AE-9C972004755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88549" y="2749291"/>
            <a:ext cx="1054100" cy="190500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D87054A-CFEF-024D-8381-BA22A06C79E7}"/>
              </a:ext>
            </a:extLst>
          </p:cNvPr>
          <p:cNvSpPr txBox="1">
            <a:spLocks/>
          </p:cNvSpPr>
          <p:nvPr/>
        </p:nvSpPr>
        <p:spPr>
          <a:xfrm>
            <a:off x="459151" y="1564460"/>
            <a:ext cx="9800499" cy="16581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Problem: </a:t>
            </a:r>
            <a:r>
              <a:rPr lang="en-US" sz="1600" dirty="0"/>
              <a:t>being robust to evasion attacks</a:t>
            </a:r>
          </a:p>
          <a:p>
            <a:pPr>
              <a:spcBef>
                <a:spcPts val="300"/>
              </a:spcBef>
            </a:pPr>
            <a:r>
              <a:rPr lang="en-US" sz="1600" dirty="0">
                <a:sym typeface="Wingdings" pitchFamily="2" charset="2"/>
              </a:rPr>
              <a:t>                   How to find a relevant      ?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FB2FFC2B-E02D-7E45-95DB-1F39E2FF76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22553" y="1662634"/>
            <a:ext cx="2057400" cy="215900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14E0BF18-097C-E844-B1BD-2CC65C1FA33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66735" y="1668197"/>
            <a:ext cx="2628900" cy="215900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3829B11F-7F24-7E49-AFF9-C817C2219AC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11062" y="2016996"/>
            <a:ext cx="152400" cy="190500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802AAE26-278C-A54C-B3FD-E6AFB42DFEB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155062" y="2398132"/>
            <a:ext cx="49784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664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96EF590-D22F-A344-A9A5-C24A4A94A132}"/>
              </a:ext>
            </a:extLst>
          </p:cNvPr>
          <p:cNvSpPr/>
          <p:nvPr/>
        </p:nvSpPr>
        <p:spPr>
          <a:xfrm>
            <a:off x="10988470" y="1631576"/>
            <a:ext cx="514124" cy="215259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4386E7-9D90-2A4C-9E17-05307FAE42A5}"/>
              </a:ext>
            </a:extLst>
          </p:cNvPr>
          <p:cNvSpPr/>
          <p:nvPr/>
        </p:nvSpPr>
        <p:spPr>
          <a:xfrm>
            <a:off x="814454" y="1909830"/>
            <a:ext cx="1374482" cy="228306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959531-1C8F-3941-AAA2-F7F1DF2FBCAA}"/>
              </a:ext>
            </a:extLst>
          </p:cNvPr>
          <p:cNvSpPr/>
          <p:nvPr/>
        </p:nvSpPr>
        <p:spPr>
          <a:xfrm>
            <a:off x="2674202" y="3457407"/>
            <a:ext cx="2710597" cy="227409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E34CB2-B094-7948-AEE6-E1BF880A4C23}"/>
              </a:ext>
            </a:extLst>
          </p:cNvPr>
          <p:cNvSpPr/>
          <p:nvPr/>
        </p:nvSpPr>
        <p:spPr>
          <a:xfrm>
            <a:off x="3381093" y="3040919"/>
            <a:ext cx="2053426" cy="221271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84A5F35-AE70-7548-A8D2-E1361DDFD674}"/>
              </a:ext>
            </a:extLst>
          </p:cNvPr>
          <p:cNvSpPr/>
          <p:nvPr/>
        </p:nvSpPr>
        <p:spPr>
          <a:xfrm>
            <a:off x="7139212" y="3040919"/>
            <a:ext cx="493758" cy="221271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D67F8FB-56FC-3E43-A869-E0B85CC4D456}"/>
              </a:ext>
            </a:extLst>
          </p:cNvPr>
          <p:cNvSpPr/>
          <p:nvPr/>
        </p:nvSpPr>
        <p:spPr>
          <a:xfrm>
            <a:off x="3692377" y="3875130"/>
            <a:ext cx="2306345" cy="221271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F813DA4-3A62-4341-A713-3681407BD5E6}"/>
              </a:ext>
            </a:extLst>
          </p:cNvPr>
          <p:cNvSpPr/>
          <p:nvPr/>
        </p:nvSpPr>
        <p:spPr>
          <a:xfrm>
            <a:off x="542525" y="4888931"/>
            <a:ext cx="1593251" cy="228306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The Under-Optimized Edges Hypothesi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Characteristics of adversarial attack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11198814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en-US" sz="1600" b="1" u="sng" dirty="0"/>
              <a:t>Architectural properties:</a:t>
            </a:r>
            <a:r>
              <a:rPr lang="en-US" sz="1600" b="1" dirty="0"/>
              <a:t> </a:t>
            </a:r>
            <a:r>
              <a:rPr lang="en-US" sz="1600" dirty="0">
                <a:solidFill>
                  <a:schemeClr val="tx2"/>
                </a:solidFill>
              </a:rPr>
              <a:t>linear hypothesis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Goodfellow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4]</a:t>
            </a:r>
            <a:r>
              <a:rPr lang="en-US" sz="1600" dirty="0"/>
              <a:t>, study of skip layers, width and depth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Guo et al. 2020]</a:t>
            </a:r>
            <a:r>
              <a:rPr lang="en-US" sz="1600" dirty="0"/>
              <a:t>, over-parametrization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Wang et al. 2018, 2020]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en-US" sz="1600" b="1" u="sng" dirty="0"/>
              <a:t>Training procedure:</a:t>
            </a:r>
            <a:r>
              <a:rPr lang="en-US" sz="1600" b="1" dirty="0"/>
              <a:t> </a:t>
            </a:r>
            <a:r>
              <a:rPr lang="en-US" sz="1600" dirty="0">
                <a:solidFill>
                  <a:schemeClr val="tx2"/>
                </a:solidFill>
              </a:rPr>
              <a:t>adversarial training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Goodfellow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4]</a:t>
            </a:r>
            <a:r>
              <a:rPr lang="en-US" sz="1600" dirty="0"/>
              <a:t>,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600" dirty="0"/>
              <a:t>loss function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Nar et al. 2019]</a:t>
            </a:r>
            <a:r>
              <a:rPr lang="en-US" sz="1600" dirty="0"/>
              <a:t>,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600" dirty="0"/>
              <a:t>calibration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Meunier et al. 2022]</a:t>
            </a:r>
            <a:r>
              <a:rPr lang="en-US" sz="1600" dirty="0"/>
              <a:t>,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600" dirty="0"/>
              <a:t>decision boundary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Fawzi et al. 2018], 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Moosavi-Dezfooli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9]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en-US" sz="1600" b="1" u="sng" dirty="0"/>
              <a:t>Behavior of information flow:</a:t>
            </a:r>
            <a:r>
              <a:rPr lang="en-US" sz="1600" b="1" dirty="0"/>
              <a:t> </a:t>
            </a:r>
            <a:r>
              <a:rPr lang="en-US" sz="1600" dirty="0"/>
              <a:t>critical neurons or layers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Aigrain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9]</a:t>
            </a:r>
            <a:r>
              <a:rPr lang="en-US" sz="1600" dirty="0"/>
              <a:t>,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600" dirty="0"/>
              <a:t>paths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Cantareira et al. 2021]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en-US" sz="1600" b="1" u="sng" dirty="0"/>
              <a:t>Manifold of the data:</a:t>
            </a:r>
            <a:r>
              <a:rPr lang="en-US" sz="1600" b="1" dirty="0"/>
              <a:t> </a:t>
            </a:r>
            <a:r>
              <a:rPr lang="en-US" sz="1600" dirty="0"/>
              <a:t>Off and on-manifold adversaries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[Stutz et al. 2019], [Ilyas et al. 2019]</a:t>
            </a:r>
          </a:p>
          <a:p>
            <a:pPr marL="285750" indent="-285750">
              <a:spcBef>
                <a:spcPts val="1000"/>
              </a:spcBef>
              <a:buFontTx/>
              <a:buChar char="-"/>
            </a:pPr>
            <a:r>
              <a:rPr lang="en-US" sz="1600" b="1" u="sng" dirty="0"/>
              <a:t>Features extracted from the data:</a:t>
            </a:r>
            <a:r>
              <a:rPr lang="en-US" sz="1600" b="1" dirty="0"/>
              <a:t> </a:t>
            </a:r>
            <a:r>
              <a:rPr lang="en-US" sz="1600" dirty="0"/>
              <a:t>robust/non-robust features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Ilyas et al. 2019], </a:t>
            </a:r>
            <a:r>
              <a:rPr lang="en-US" sz="1600" dirty="0"/>
              <a:t>feature space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Agarwal et al. 2019]</a:t>
            </a:r>
          </a:p>
          <a:p>
            <a:pPr marL="285750" indent="-285750">
              <a:spcBef>
                <a:spcPts val="300"/>
              </a:spcBef>
              <a:buFontTx/>
              <a:buChar char="-"/>
            </a:pPr>
            <a:endParaRPr lang="en-US" sz="16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>
              <a:spcBef>
                <a:spcPts val="300"/>
              </a:spcBef>
            </a:pPr>
            <a:endParaRPr lang="en-US" sz="1600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8C3A0A5D-2929-0640-A7F0-03D0F3EC4E49}"/>
              </a:ext>
            </a:extLst>
          </p:cNvPr>
          <p:cNvSpPr txBox="1">
            <a:spLocks/>
          </p:cNvSpPr>
          <p:nvPr/>
        </p:nvSpPr>
        <p:spPr>
          <a:xfrm>
            <a:off x="459151" y="4795278"/>
            <a:ext cx="3687846" cy="421766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ym typeface="Wingdings" pitchFamily="2" charset="2"/>
              </a:rPr>
              <a:t>Common elements in these characteristics</a:t>
            </a:r>
          </a:p>
        </p:txBody>
      </p:sp>
    </p:spTree>
    <p:extLst>
      <p:ext uri="{BB962C8B-B14F-4D97-AF65-F5344CB8AC3E}">
        <p14:creationId xmlns:p14="http://schemas.microsoft.com/office/powerpoint/2010/main" val="105126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The Under-Optimized Edges Hypothesi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7763967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Unifying hypothesis to explains the success of adversarial examp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11198814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600" dirty="0"/>
              <a:t>Concatenate some characteristics into the following source hypothesis </a:t>
            </a:r>
            <a:r>
              <a:rPr lang="en-US" sz="1600" dirty="0">
                <a:sym typeface="Wingdings" pitchFamily="2" charset="2"/>
              </a:rPr>
              <a:t> </a:t>
            </a:r>
            <a:r>
              <a:rPr lang="en-US" sz="1600" b="1" dirty="0">
                <a:solidFill>
                  <a:schemeClr val="tx2"/>
                </a:solidFill>
                <a:sym typeface="Wingdings" pitchFamily="2" charset="2"/>
              </a:rPr>
              <a:t>Explain</a:t>
            </a:r>
            <a:r>
              <a:rPr lang="en-US" sz="1600" dirty="0">
                <a:sym typeface="Wingdings" pitchFamily="2" charset="2"/>
              </a:rPr>
              <a:t> the adv. phenomenon to </a:t>
            </a:r>
            <a:r>
              <a:rPr lang="en-US" sz="1600" b="1" dirty="0" err="1">
                <a:solidFill>
                  <a:schemeClr val="tx2"/>
                </a:solidFill>
                <a:sym typeface="Wingdings" pitchFamily="2" charset="2"/>
              </a:rPr>
              <a:t>robustify</a:t>
            </a:r>
            <a:r>
              <a:rPr lang="en-US" sz="1600" b="1" dirty="0">
                <a:solidFill>
                  <a:schemeClr val="tx2"/>
                </a:solidFill>
                <a:sym typeface="Wingdings" pitchFamily="2" charset="2"/>
              </a:rPr>
              <a:t> by detecting</a:t>
            </a:r>
            <a:endParaRPr lang="en-US" sz="1600" b="1" dirty="0">
              <a:solidFill>
                <a:schemeClr val="tx2"/>
              </a:solidFill>
            </a:endParaRPr>
          </a:p>
          <a:p>
            <a:pPr>
              <a:spcBef>
                <a:spcPts val="300"/>
              </a:spcBef>
            </a:pPr>
            <a:endParaRPr lang="en-US" sz="160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388ED0A-650D-DC49-96AD-A6D2F369FCDA}"/>
              </a:ext>
            </a:extLst>
          </p:cNvPr>
          <p:cNvSpPr txBox="1">
            <a:spLocks/>
          </p:cNvSpPr>
          <p:nvPr/>
        </p:nvSpPr>
        <p:spPr>
          <a:xfrm>
            <a:off x="1983504" y="2160167"/>
            <a:ext cx="8150108" cy="102812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fr-FR" sz="1600" dirty="0"/>
              <a:t>Clean and </a:t>
            </a:r>
            <a:r>
              <a:rPr lang="fr-FR" sz="1600" dirty="0" err="1"/>
              <a:t>adversarial</a:t>
            </a:r>
            <a:r>
              <a:rPr lang="fr-FR" sz="1600" dirty="0"/>
              <a:t> inputs </a:t>
            </a:r>
            <a:r>
              <a:rPr lang="fr-FR" sz="1600" dirty="0" err="1"/>
              <a:t>induce</a:t>
            </a:r>
            <a:r>
              <a:rPr lang="fr-FR" sz="1600" dirty="0"/>
              <a:t> </a:t>
            </a:r>
            <a:r>
              <a:rPr lang="fr-FR" sz="1600" dirty="0" err="1"/>
              <a:t>differences</a:t>
            </a:r>
            <a:r>
              <a:rPr lang="fr-FR" sz="1600" dirty="0"/>
              <a:t> in the </a:t>
            </a:r>
            <a:r>
              <a:rPr lang="fr-FR" sz="1600" dirty="0" err="1"/>
              <a:t>topological</a:t>
            </a:r>
            <a:r>
              <a:rPr lang="fr-FR" sz="1600" dirty="0"/>
              <a:t> structure in </a:t>
            </a:r>
            <a:r>
              <a:rPr lang="fr-FR" sz="1600" dirty="0" err="1"/>
              <a:t>their</a:t>
            </a:r>
            <a:r>
              <a:rPr lang="fr-FR" sz="1600" dirty="0"/>
              <a:t> respective </a:t>
            </a:r>
            <a:r>
              <a:rPr lang="fr-FR" sz="1600" dirty="0" err="1"/>
              <a:t>induced</a:t>
            </a:r>
            <a:r>
              <a:rPr lang="fr-FR" sz="1600" dirty="0"/>
              <a:t> graphs, </a:t>
            </a:r>
            <a:r>
              <a:rPr lang="fr-FR" sz="1600" dirty="0" err="1"/>
              <a:t>because</a:t>
            </a:r>
            <a:r>
              <a:rPr lang="fr-FR" sz="1600" dirty="0"/>
              <a:t> </a:t>
            </a:r>
            <a:r>
              <a:rPr lang="fr-FR" sz="1600" dirty="0" err="1"/>
              <a:t>under-optimized</a:t>
            </a:r>
            <a:r>
              <a:rPr lang="fr-FR" sz="1600" dirty="0"/>
              <a:t> </a:t>
            </a:r>
            <a:r>
              <a:rPr lang="fr-FR" sz="1600" dirty="0" err="1"/>
              <a:t>edges</a:t>
            </a:r>
            <a:r>
              <a:rPr lang="fr-FR" sz="1600" dirty="0"/>
              <a:t> are </a:t>
            </a:r>
            <a:r>
              <a:rPr lang="fr-FR" sz="1600" dirty="0" err="1"/>
              <a:t>used</a:t>
            </a:r>
            <a:r>
              <a:rPr lang="fr-FR" sz="1600" dirty="0"/>
              <a:t> by </a:t>
            </a:r>
            <a:r>
              <a:rPr lang="fr-FR" sz="1600" dirty="0" err="1"/>
              <a:t>adversaries</a:t>
            </a:r>
            <a:r>
              <a:rPr lang="fr-FR" sz="1600" dirty="0"/>
              <a:t>, but not by clean inputs. </a:t>
            </a:r>
            <a:r>
              <a:rPr lang="fr-FR" sz="1600" dirty="0" err="1"/>
              <a:t>Such</a:t>
            </a:r>
            <a:r>
              <a:rPr lang="fr-FR" sz="1600" dirty="0"/>
              <a:t> </a:t>
            </a:r>
            <a:r>
              <a:rPr lang="fr-FR" sz="1600" dirty="0" err="1"/>
              <a:t>edges</a:t>
            </a:r>
            <a:r>
              <a:rPr lang="fr-FR" sz="1600" dirty="0"/>
              <a:t> are </a:t>
            </a:r>
            <a:r>
              <a:rPr lang="fr-FR" sz="1600" dirty="0" err="1"/>
              <a:t>thus</a:t>
            </a:r>
            <a:r>
              <a:rPr lang="fr-FR" sz="1600" dirty="0"/>
              <a:t> a source of </a:t>
            </a:r>
            <a:r>
              <a:rPr lang="fr-FR" sz="1600" dirty="0" err="1"/>
              <a:t>adversarial</a:t>
            </a:r>
            <a:r>
              <a:rPr lang="fr-FR" sz="1600" dirty="0"/>
              <a:t> </a:t>
            </a:r>
            <a:r>
              <a:rPr lang="fr-FR" sz="1600" dirty="0" err="1"/>
              <a:t>vulnerability</a:t>
            </a:r>
            <a:r>
              <a:rPr lang="fr-FR" sz="1600" dirty="0"/>
              <a:t>. </a:t>
            </a:r>
            <a:endParaRPr lang="fr-FR" sz="1600" dirty="0">
              <a:effectLst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6AF3BC4-A465-0548-8A1A-BB42B5E587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6285" y="3562843"/>
            <a:ext cx="2864546" cy="210484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56C1E7D-FEE0-0146-B745-4359A6D5DCB7}"/>
              </a:ext>
            </a:extLst>
          </p:cNvPr>
          <p:cNvSpPr/>
          <p:nvPr/>
        </p:nvSpPr>
        <p:spPr>
          <a:xfrm>
            <a:off x="2037339" y="2554451"/>
            <a:ext cx="1419093" cy="221271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6461F81-6BB3-9340-BD5D-FD5C0BB23B2F}"/>
              </a:ext>
            </a:extLst>
          </p:cNvPr>
          <p:cNvSpPr/>
          <p:nvPr/>
        </p:nvSpPr>
        <p:spPr>
          <a:xfrm>
            <a:off x="6674275" y="2269530"/>
            <a:ext cx="1785913" cy="221271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17993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Topological Data Analysis in a Nutshell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From point cloud to persistent diagram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11198814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Goal:</a:t>
            </a:r>
            <a:r>
              <a:rPr lang="en-US" sz="1600" b="1" dirty="0"/>
              <a:t> </a:t>
            </a:r>
            <a:r>
              <a:rPr lang="en-US" sz="1600" dirty="0"/>
              <a:t>extracting topological information from high-dimensional point clouds</a:t>
            </a:r>
          </a:p>
          <a:p>
            <a:r>
              <a:rPr lang="en-US" sz="1600" b="1" u="sng" dirty="0"/>
              <a:t>How:</a:t>
            </a:r>
            <a:endParaRPr lang="en-US" sz="1600" dirty="0"/>
          </a:p>
          <a:p>
            <a:pPr marL="285750" indent="-285750">
              <a:buFontTx/>
              <a:buChar char="-"/>
            </a:pPr>
            <a:r>
              <a:rPr lang="en-US" sz="1600" dirty="0"/>
              <a:t>Complex version: homology groups can be computed from simplicial complexes. Based on a filtration, a graph can be converted to a sequence of simplicial complexes </a:t>
            </a:r>
            <a:r>
              <a:rPr lang="en-US" sz="1600" dirty="0">
                <a:sym typeface="Wingdings" pitchFamily="2" charset="2"/>
              </a:rPr>
              <a:t> sequence of homology groups  you can track when each homology group is born and dies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Simple version: </a:t>
            </a:r>
            <a:r>
              <a:rPr lang="en-US" sz="1600" dirty="0">
                <a:sym typeface="Wingdings" pitchFamily="2" charset="2"/>
              </a:rPr>
              <a:t>a graph can be converted to a </a:t>
            </a:r>
            <a:r>
              <a:rPr lang="en-US" sz="1600" b="1" dirty="0">
                <a:sym typeface="Wingdings" pitchFamily="2" charset="2"/>
              </a:rPr>
              <a:t>sequence of subgraphs</a:t>
            </a:r>
            <a:r>
              <a:rPr lang="en-US" sz="1600" dirty="0">
                <a:sym typeface="Wingdings" pitchFamily="2" charset="2"/>
              </a:rPr>
              <a:t> based on a filtration  track when a </a:t>
            </a:r>
            <a:r>
              <a:rPr lang="en-US" sz="1600" b="1" dirty="0">
                <a:sym typeface="Wingdings" pitchFamily="2" charset="2"/>
              </a:rPr>
              <a:t>connected component </a:t>
            </a:r>
            <a:r>
              <a:rPr lang="en-US" sz="1600" dirty="0">
                <a:sym typeface="Wingdings" pitchFamily="2" charset="2"/>
              </a:rPr>
              <a:t>is born and dies</a:t>
            </a:r>
            <a:endParaRPr lang="en-US" sz="1600" dirty="0"/>
          </a:p>
          <a:p>
            <a:pPr>
              <a:spcBef>
                <a:spcPts val="1200"/>
              </a:spcBef>
            </a:pPr>
            <a:r>
              <a:rPr lang="en-US" sz="1600" dirty="0">
                <a:solidFill>
                  <a:schemeClr val="bg1">
                    <a:lumMod val="75000"/>
                  </a:schemeClr>
                </a:solidFill>
              </a:rPr>
              <a:t>Building a sequence of simplicial complexes via a filtration                                         Persistent diagram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4CF266D-B3EC-B149-8722-B28B439E99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151" y="4095856"/>
            <a:ext cx="5502677" cy="1317925"/>
          </a:xfrm>
          <a:prstGeom prst="rect">
            <a:avLst/>
          </a:prstGeom>
        </p:spPr>
      </p:pic>
      <p:sp>
        <p:nvSpPr>
          <p:cNvPr id="10" name="Flèche vers la droite 9">
            <a:extLst>
              <a:ext uri="{FF2B5EF4-FFF2-40B4-BE49-F238E27FC236}">
                <a16:creationId xmlns:a16="http://schemas.microsoft.com/office/drawing/2014/main" id="{56507B37-2F3B-4C49-B97D-EB505DD1BE1D}"/>
              </a:ext>
            </a:extLst>
          </p:cNvPr>
          <p:cNvSpPr/>
          <p:nvPr/>
        </p:nvSpPr>
        <p:spPr>
          <a:xfrm>
            <a:off x="6114866" y="4542338"/>
            <a:ext cx="451412" cy="347241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A10D266-B71D-6942-A22E-591F183BAC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0562" y="4043573"/>
            <a:ext cx="3314218" cy="2209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6343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Topological Data Analysis in a Nutshell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Properties of persistent diagram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11360316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Persistent diagrams are </a:t>
            </a:r>
            <a:r>
              <a:rPr lang="en-US" sz="1600" dirty="0">
                <a:solidFill>
                  <a:schemeClr val="tx2"/>
                </a:solidFill>
              </a:rPr>
              <a:t>robust to random noise</a:t>
            </a:r>
            <a:r>
              <a:rPr lang="en-US" sz="1600" dirty="0"/>
              <a:t>… but not to </a:t>
            </a:r>
            <a:r>
              <a:rPr lang="en-US" sz="1600" dirty="0">
                <a:solidFill>
                  <a:schemeClr val="tx2"/>
                </a:solidFill>
              </a:rPr>
              <a:t>qualitatively different</a:t>
            </a:r>
            <a:r>
              <a:rPr lang="en-US" sz="1600" dirty="0"/>
              <a:t> noises such as those induced by adversarial examples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C7B8D24A-6EE2-3342-8CA6-B5B33829CA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1032" y="2316068"/>
            <a:ext cx="7555052" cy="345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5881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Extracting the Topological Feature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Building the </a:t>
            </a:r>
            <a:r>
              <a:rPr lang="en-US" sz="1800" b="1" dirty="0" err="1">
                <a:latin typeface="Hurme Geometric Sans 4 SemiBold" panose="020B0A00020000000000" pitchFamily="34" charset="77"/>
                <a:sym typeface="Wingdings" pitchFamily="2" charset="2"/>
              </a:rPr>
              <a:t>Thresholded</a:t>
            </a:r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 Induced Graph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974043"/>
            <a:ext cx="11198814" cy="37561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 err="1"/>
              <a:t>Defintion</a:t>
            </a:r>
            <a:r>
              <a:rPr lang="en-US" sz="1600" b="1" u="sng" dirty="0"/>
              <a:t> for a MLP:</a:t>
            </a:r>
            <a:r>
              <a:rPr lang="en-US" sz="1600" b="1" dirty="0"/>
              <a:t> </a:t>
            </a:r>
            <a:r>
              <a:rPr lang="en-US" sz="1600" dirty="0"/>
              <a:t>for a feature map       with parameters                                     and an input              , the induced graph is:</a:t>
            </a:r>
          </a:p>
          <a:p>
            <a:endParaRPr lang="en-US" sz="1600" dirty="0"/>
          </a:p>
          <a:p>
            <a:endParaRPr lang="en-US" sz="1600" dirty="0"/>
          </a:p>
          <a:p>
            <a:pPr>
              <a:spcBef>
                <a:spcPts val="1000"/>
              </a:spcBef>
            </a:pPr>
            <a:r>
              <a:rPr lang="en-US" sz="1600" b="1" u="sng" dirty="0"/>
              <a:t>Selecting under-optimized edges: </a:t>
            </a:r>
          </a:p>
          <a:p>
            <a:pPr marL="285750" indent="-285750">
              <a:spcBef>
                <a:spcPts val="300"/>
              </a:spcBef>
              <a:buFontTx/>
              <a:buChar char="-"/>
            </a:pPr>
            <a:r>
              <a:rPr lang="en-US" sz="1600" dirty="0"/>
              <a:t>computational efficiency &amp; hypothesis</a:t>
            </a:r>
          </a:p>
          <a:p>
            <a:pPr marL="285750" indent="-285750">
              <a:spcBef>
                <a:spcPts val="300"/>
              </a:spcBef>
              <a:buFontTx/>
              <a:buChar char="-"/>
            </a:pPr>
            <a:r>
              <a:rPr lang="en-US" sz="1600" dirty="0"/>
              <a:t>Magnitude Increase criteria:</a:t>
            </a:r>
          </a:p>
          <a:p>
            <a:pPr marL="285750" indent="-285750">
              <a:spcBef>
                <a:spcPts val="300"/>
              </a:spcBef>
              <a:buFontTx/>
              <a:buChar char="-"/>
            </a:pPr>
            <a:r>
              <a:rPr lang="en-US" sz="1600" dirty="0"/>
              <a:t>Denoted by     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C9EF9D2-4C96-414F-98CA-7C2A344663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7977" y="2153365"/>
            <a:ext cx="177800" cy="1397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1EA3556-FBFD-C246-A09A-05FCC5ACEB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5457" y="2095939"/>
            <a:ext cx="1524000" cy="2286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9077025-F07C-4047-A43C-DEEA3D28BB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4447" y="2095939"/>
            <a:ext cx="533400" cy="1524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84BE5F57-6126-B840-9288-53C65FB4DA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2847" y="2387390"/>
            <a:ext cx="7988300" cy="2667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CA68C34-5F9E-7140-AF31-E3CB2E4975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2847" y="2706090"/>
            <a:ext cx="3479800" cy="266700"/>
          </a:xfrm>
          <a:prstGeom prst="rect">
            <a:avLst/>
          </a:prstGeom>
        </p:spPr>
      </p:pic>
      <p:pic>
        <p:nvPicPr>
          <p:cNvPr id="59" name="Image 58">
            <a:extLst>
              <a:ext uri="{FF2B5EF4-FFF2-40B4-BE49-F238E27FC236}">
                <a16:creationId xmlns:a16="http://schemas.microsoft.com/office/drawing/2014/main" id="{1A11FF9B-4BBB-5849-8D1A-80EC8634CE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54817" y="3870529"/>
            <a:ext cx="3238500" cy="254000"/>
          </a:xfrm>
          <a:prstGeom prst="rect">
            <a:avLst/>
          </a:prstGeom>
        </p:spPr>
      </p:pic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8005488A-5B15-E54A-8E64-EA0935577F56}"/>
              </a:ext>
            </a:extLst>
          </p:cNvPr>
          <p:cNvSpPr txBox="1">
            <a:spLocks/>
          </p:cNvSpPr>
          <p:nvPr/>
        </p:nvSpPr>
        <p:spPr>
          <a:xfrm>
            <a:off x="6618324" y="3784258"/>
            <a:ext cx="3985527" cy="4099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Frankle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and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arbin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2019], [Zhou et al. 2019]</a:t>
            </a:r>
          </a:p>
        </p:txBody>
      </p:sp>
      <p:grpSp>
        <p:nvGrpSpPr>
          <p:cNvPr id="81" name="Groupe 80">
            <a:extLst>
              <a:ext uri="{FF2B5EF4-FFF2-40B4-BE49-F238E27FC236}">
                <a16:creationId xmlns:a16="http://schemas.microsoft.com/office/drawing/2014/main" id="{5E6A2436-6EA8-EF4F-B861-65FA1C6AF490}"/>
              </a:ext>
            </a:extLst>
          </p:cNvPr>
          <p:cNvGrpSpPr/>
          <p:nvPr/>
        </p:nvGrpSpPr>
        <p:grpSpPr>
          <a:xfrm>
            <a:off x="856313" y="4946326"/>
            <a:ext cx="9555876" cy="980093"/>
            <a:chOff x="758632" y="4149829"/>
            <a:chExt cx="9555876" cy="980093"/>
          </a:xfrm>
        </p:grpSpPr>
        <p:grpSp>
          <p:nvGrpSpPr>
            <p:cNvPr id="57" name="Groupe 56">
              <a:extLst>
                <a:ext uri="{FF2B5EF4-FFF2-40B4-BE49-F238E27FC236}">
                  <a16:creationId xmlns:a16="http://schemas.microsoft.com/office/drawing/2014/main" id="{01B8F9C8-8DCC-C841-BDDA-B155E43D20F6}"/>
                </a:ext>
              </a:extLst>
            </p:cNvPr>
            <p:cNvGrpSpPr/>
            <p:nvPr/>
          </p:nvGrpSpPr>
          <p:grpSpPr>
            <a:xfrm>
              <a:off x="758632" y="4153954"/>
              <a:ext cx="1877321" cy="963293"/>
              <a:chOff x="1011471" y="3103533"/>
              <a:chExt cx="1877321" cy="963293"/>
            </a:xfrm>
          </p:grpSpPr>
          <p:grpSp>
            <p:nvGrpSpPr>
              <p:cNvPr id="24" name="Groupe 23">
                <a:extLst>
                  <a:ext uri="{FF2B5EF4-FFF2-40B4-BE49-F238E27FC236}">
                    <a16:creationId xmlns:a16="http://schemas.microsoft.com/office/drawing/2014/main" id="{3E44A0FC-8EE2-8E43-9065-AA3C66857683}"/>
                  </a:ext>
                </a:extLst>
              </p:cNvPr>
              <p:cNvGrpSpPr/>
              <p:nvPr/>
            </p:nvGrpSpPr>
            <p:grpSpPr>
              <a:xfrm>
                <a:off x="1011471" y="3103533"/>
                <a:ext cx="1877321" cy="963293"/>
                <a:chOff x="1537251" y="3475076"/>
                <a:chExt cx="1877321" cy="963293"/>
              </a:xfrm>
            </p:grpSpPr>
            <p:sp>
              <p:nvSpPr>
                <p:cNvPr id="8" name="Ellipse 7">
                  <a:extLst>
                    <a:ext uri="{FF2B5EF4-FFF2-40B4-BE49-F238E27FC236}">
                      <a16:creationId xmlns:a16="http://schemas.microsoft.com/office/drawing/2014/main" id="{06178697-D880-CD4E-A0FD-E52C3060BD7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537251" y="3475076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12" name="Ellipse 11">
                  <a:extLst>
                    <a:ext uri="{FF2B5EF4-FFF2-40B4-BE49-F238E27FC236}">
                      <a16:creationId xmlns:a16="http://schemas.microsoft.com/office/drawing/2014/main" id="{C02A841C-08F7-BE4B-B7FB-7010DEEE174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537251" y="4294369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13" name="Ellipse 12">
                  <a:extLst>
                    <a:ext uri="{FF2B5EF4-FFF2-40B4-BE49-F238E27FC236}">
                      <a16:creationId xmlns:a16="http://schemas.microsoft.com/office/drawing/2014/main" id="{26C22628-98B4-7240-8920-160E9DB6265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431027" y="3884722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14" name="Ellipse 13">
                  <a:extLst>
                    <a:ext uri="{FF2B5EF4-FFF2-40B4-BE49-F238E27FC236}">
                      <a16:creationId xmlns:a16="http://schemas.microsoft.com/office/drawing/2014/main" id="{75B907B0-527A-5A43-AF09-6824B4FB1EA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270572" y="3884722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cxnSp>
              <p:nvCxnSpPr>
                <p:cNvPr id="10" name="Connecteur droit 9">
                  <a:extLst>
                    <a:ext uri="{FF2B5EF4-FFF2-40B4-BE49-F238E27FC236}">
                      <a16:creationId xmlns:a16="http://schemas.microsoft.com/office/drawing/2014/main" id="{086F1896-7E47-334A-8F83-68E0065434D5}"/>
                    </a:ext>
                  </a:extLst>
                </p:cNvPr>
                <p:cNvCxnSpPr>
                  <a:stCxn id="8" idx="6"/>
                  <a:endCxn id="13" idx="2"/>
                </p:cNvCxnSpPr>
                <p:nvPr/>
              </p:nvCxnSpPr>
              <p:spPr>
                <a:xfrm>
                  <a:off x="1681251" y="3547076"/>
                  <a:ext cx="749776" cy="40964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Connecteur droit 16">
                  <a:extLst>
                    <a:ext uri="{FF2B5EF4-FFF2-40B4-BE49-F238E27FC236}">
                      <a16:creationId xmlns:a16="http://schemas.microsoft.com/office/drawing/2014/main" id="{D5594232-5440-B543-B131-DF381C414AA8}"/>
                    </a:ext>
                  </a:extLst>
                </p:cNvPr>
                <p:cNvCxnSpPr>
                  <a:cxnSpLocks/>
                  <a:endCxn id="13" idx="2"/>
                </p:cNvCxnSpPr>
                <p:nvPr/>
              </p:nvCxnSpPr>
              <p:spPr>
                <a:xfrm flipV="1">
                  <a:off x="1681251" y="3956722"/>
                  <a:ext cx="749776" cy="40964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Connecteur droit 19">
                  <a:extLst>
                    <a:ext uri="{FF2B5EF4-FFF2-40B4-BE49-F238E27FC236}">
                      <a16:creationId xmlns:a16="http://schemas.microsoft.com/office/drawing/2014/main" id="{23A310FE-EBFB-4843-B37D-74B20A9DEFAE}"/>
                    </a:ext>
                  </a:extLst>
                </p:cNvPr>
                <p:cNvCxnSpPr>
                  <a:cxnSpLocks/>
                  <a:endCxn id="14" idx="2"/>
                </p:cNvCxnSpPr>
                <p:nvPr/>
              </p:nvCxnSpPr>
              <p:spPr>
                <a:xfrm>
                  <a:off x="2575027" y="3956722"/>
                  <a:ext cx="695545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21" name="Image 20">
                  <a:extLst>
                    <a:ext uri="{FF2B5EF4-FFF2-40B4-BE49-F238E27FC236}">
                      <a16:creationId xmlns:a16="http://schemas.microsoft.com/office/drawing/2014/main" id="{900C9A98-8427-8E4F-8DA9-F49EB92411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979939" y="4213968"/>
                  <a:ext cx="241300" cy="152400"/>
                </a:xfrm>
                <a:prstGeom prst="rect">
                  <a:avLst/>
                </a:prstGeom>
              </p:spPr>
            </p:pic>
            <p:pic>
              <p:nvPicPr>
                <p:cNvPr id="22" name="Image 21">
                  <a:extLst>
                    <a:ext uri="{FF2B5EF4-FFF2-40B4-BE49-F238E27FC236}">
                      <a16:creationId xmlns:a16="http://schemas.microsoft.com/office/drawing/2014/main" id="{AC897CE4-66D1-EA44-9D74-16016D4875F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2874090" y="3764123"/>
                  <a:ext cx="101600" cy="152400"/>
                </a:xfrm>
                <a:prstGeom prst="rect">
                  <a:avLst/>
                </a:prstGeom>
              </p:spPr>
            </p:pic>
          </p:grpSp>
          <p:pic>
            <p:nvPicPr>
              <p:cNvPr id="47" name="Image 46">
                <a:extLst>
                  <a:ext uri="{FF2B5EF4-FFF2-40B4-BE49-F238E27FC236}">
                    <a16:creationId xmlns:a16="http://schemas.microsoft.com/office/drawing/2014/main" id="{D033AE68-4733-EA4A-B3E7-E3BE3E0548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450917" y="3153631"/>
                <a:ext cx="292100" cy="215900"/>
              </a:xfrm>
              <a:prstGeom prst="rect">
                <a:avLst/>
              </a:prstGeom>
            </p:spPr>
          </p:pic>
        </p:grpSp>
        <p:grpSp>
          <p:nvGrpSpPr>
            <p:cNvPr id="56" name="Groupe 55">
              <a:extLst>
                <a:ext uri="{FF2B5EF4-FFF2-40B4-BE49-F238E27FC236}">
                  <a16:creationId xmlns:a16="http://schemas.microsoft.com/office/drawing/2014/main" id="{5AFD0176-60E8-D344-9999-A2BA8689DAB3}"/>
                </a:ext>
              </a:extLst>
            </p:cNvPr>
            <p:cNvGrpSpPr/>
            <p:nvPr/>
          </p:nvGrpSpPr>
          <p:grpSpPr>
            <a:xfrm>
              <a:off x="3946548" y="4149829"/>
              <a:ext cx="2778998" cy="980093"/>
              <a:chOff x="3728127" y="3095133"/>
              <a:chExt cx="2778998" cy="980093"/>
            </a:xfrm>
          </p:grpSpPr>
          <p:grpSp>
            <p:nvGrpSpPr>
              <p:cNvPr id="29" name="Groupe 28">
                <a:extLst>
                  <a:ext uri="{FF2B5EF4-FFF2-40B4-BE49-F238E27FC236}">
                    <a16:creationId xmlns:a16="http://schemas.microsoft.com/office/drawing/2014/main" id="{09D9A3AD-5425-7440-BD13-17C3060FAD54}"/>
                  </a:ext>
                </a:extLst>
              </p:cNvPr>
              <p:cNvGrpSpPr/>
              <p:nvPr/>
            </p:nvGrpSpPr>
            <p:grpSpPr>
              <a:xfrm>
                <a:off x="4629804" y="3103533"/>
                <a:ext cx="1877321" cy="963293"/>
                <a:chOff x="1537251" y="3475076"/>
                <a:chExt cx="1877321" cy="963293"/>
              </a:xfrm>
            </p:grpSpPr>
            <p:sp>
              <p:nvSpPr>
                <p:cNvPr id="30" name="Ellipse 29">
                  <a:extLst>
                    <a:ext uri="{FF2B5EF4-FFF2-40B4-BE49-F238E27FC236}">
                      <a16:creationId xmlns:a16="http://schemas.microsoft.com/office/drawing/2014/main" id="{379F73B5-32EF-D344-A515-A6E546B9C8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537251" y="3475076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3" name="Ellipse 32">
                  <a:extLst>
                    <a:ext uri="{FF2B5EF4-FFF2-40B4-BE49-F238E27FC236}">
                      <a16:creationId xmlns:a16="http://schemas.microsoft.com/office/drawing/2014/main" id="{E5B22B4E-471D-A84B-873B-A4B9216A84E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537251" y="4294369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4" name="Ellipse 33">
                  <a:extLst>
                    <a:ext uri="{FF2B5EF4-FFF2-40B4-BE49-F238E27FC236}">
                      <a16:creationId xmlns:a16="http://schemas.microsoft.com/office/drawing/2014/main" id="{0DD6FFB5-0641-9641-B6EC-431341F5C30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431027" y="3884722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35" name="Ellipse 34">
                  <a:extLst>
                    <a:ext uri="{FF2B5EF4-FFF2-40B4-BE49-F238E27FC236}">
                      <a16:creationId xmlns:a16="http://schemas.microsoft.com/office/drawing/2014/main" id="{5FD798AD-645E-6F4A-ADCB-B531195D0D0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270572" y="3884722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cxnSp>
              <p:nvCxnSpPr>
                <p:cNvPr id="36" name="Connecteur droit 35">
                  <a:extLst>
                    <a:ext uri="{FF2B5EF4-FFF2-40B4-BE49-F238E27FC236}">
                      <a16:creationId xmlns:a16="http://schemas.microsoft.com/office/drawing/2014/main" id="{86F22CCF-ADAD-9E4A-AB52-22E7343DCED9}"/>
                    </a:ext>
                  </a:extLst>
                </p:cNvPr>
                <p:cNvCxnSpPr>
                  <a:stCxn id="30" idx="6"/>
                  <a:endCxn id="34" idx="2"/>
                </p:cNvCxnSpPr>
                <p:nvPr/>
              </p:nvCxnSpPr>
              <p:spPr>
                <a:xfrm>
                  <a:off x="1681251" y="3547076"/>
                  <a:ext cx="749776" cy="40964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Connecteur droit 36">
                  <a:extLst>
                    <a:ext uri="{FF2B5EF4-FFF2-40B4-BE49-F238E27FC236}">
                      <a16:creationId xmlns:a16="http://schemas.microsoft.com/office/drawing/2014/main" id="{F88253BA-8C11-3040-B875-9871875BF32E}"/>
                    </a:ext>
                  </a:extLst>
                </p:cNvPr>
                <p:cNvCxnSpPr>
                  <a:cxnSpLocks/>
                  <a:endCxn id="34" idx="2"/>
                </p:cNvCxnSpPr>
                <p:nvPr/>
              </p:nvCxnSpPr>
              <p:spPr>
                <a:xfrm flipV="1">
                  <a:off x="1681251" y="3956722"/>
                  <a:ext cx="749776" cy="40964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Connecteur droit 37">
                  <a:extLst>
                    <a:ext uri="{FF2B5EF4-FFF2-40B4-BE49-F238E27FC236}">
                      <a16:creationId xmlns:a16="http://schemas.microsoft.com/office/drawing/2014/main" id="{97A60F29-70A1-714A-BA4A-706E1B2D2686}"/>
                    </a:ext>
                  </a:extLst>
                </p:cNvPr>
                <p:cNvCxnSpPr>
                  <a:cxnSpLocks/>
                  <a:endCxn id="35" idx="2"/>
                </p:cNvCxnSpPr>
                <p:nvPr/>
              </p:nvCxnSpPr>
              <p:spPr>
                <a:xfrm>
                  <a:off x="2575027" y="3956722"/>
                  <a:ext cx="695545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48" name="Image 47">
                <a:extLst>
                  <a:ext uri="{FF2B5EF4-FFF2-40B4-BE49-F238E27FC236}">
                    <a16:creationId xmlns:a16="http://schemas.microsoft.com/office/drawing/2014/main" id="{278EB179-90AB-4844-A6CB-A3ECAB9B56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416054" y="3095133"/>
                <a:ext cx="190500" cy="152400"/>
              </a:xfrm>
              <a:prstGeom prst="rect">
                <a:avLst/>
              </a:prstGeom>
            </p:spPr>
          </p:pic>
          <p:pic>
            <p:nvPicPr>
              <p:cNvPr id="49" name="Image 48">
                <a:extLst>
                  <a:ext uri="{FF2B5EF4-FFF2-40B4-BE49-F238E27FC236}">
                    <a16:creationId xmlns:a16="http://schemas.microsoft.com/office/drawing/2014/main" id="{3FE9341C-560C-9E47-99F3-3E5ED31E99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467884" y="3922826"/>
                <a:ext cx="101600" cy="152400"/>
              </a:xfrm>
              <a:prstGeom prst="rect">
                <a:avLst/>
              </a:prstGeom>
            </p:spPr>
          </p:pic>
          <p:pic>
            <p:nvPicPr>
              <p:cNvPr id="50" name="Image 49">
                <a:extLst>
                  <a:ext uri="{FF2B5EF4-FFF2-40B4-BE49-F238E27FC236}">
                    <a16:creationId xmlns:a16="http://schemas.microsoft.com/office/drawing/2014/main" id="{695AFE20-96A6-3B49-8A34-B9F635E7B8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544780" y="3312901"/>
                <a:ext cx="101600" cy="152400"/>
              </a:xfrm>
              <a:prstGeom prst="rect">
                <a:avLst/>
              </a:prstGeom>
            </p:spPr>
          </p:pic>
          <p:pic>
            <p:nvPicPr>
              <p:cNvPr id="51" name="Image 50">
                <a:extLst>
                  <a:ext uri="{FF2B5EF4-FFF2-40B4-BE49-F238E27FC236}">
                    <a16:creationId xmlns:a16="http://schemas.microsoft.com/office/drawing/2014/main" id="{46FDBDA8-486F-F54D-895F-C33352488F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102321" y="3180078"/>
                <a:ext cx="190500" cy="152400"/>
              </a:xfrm>
              <a:prstGeom prst="rect">
                <a:avLst/>
              </a:prstGeom>
            </p:spPr>
          </p:pic>
          <p:pic>
            <p:nvPicPr>
              <p:cNvPr id="52" name="Image 51">
                <a:extLst>
                  <a:ext uri="{FF2B5EF4-FFF2-40B4-BE49-F238E27FC236}">
                    <a16:creationId xmlns:a16="http://schemas.microsoft.com/office/drawing/2014/main" id="{E0AD526D-A254-D84A-A490-4F5732DD78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5132731" y="3814192"/>
                <a:ext cx="101600" cy="152400"/>
              </a:xfrm>
              <a:prstGeom prst="rect">
                <a:avLst/>
              </a:prstGeom>
            </p:spPr>
          </p:pic>
          <p:pic>
            <p:nvPicPr>
              <p:cNvPr id="53" name="Image 52">
                <a:extLst>
                  <a:ext uri="{FF2B5EF4-FFF2-40B4-BE49-F238E27FC236}">
                    <a16:creationId xmlns:a16="http://schemas.microsoft.com/office/drawing/2014/main" id="{414AB362-B33C-BA45-B44D-828587C1CD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5964552" y="3402526"/>
                <a:ext cx="101600" cy="152400"/>
              </a:xfrm>
              <a:prstGeom prst="rect">
                <a:avLst/>
              </a:prstGeom>
            </p:spPr>
          </p:pic>
          <p:pic>
            <p:nvPicPr>
              <p:cNvPr id="54" name="Image 53">
                <a:extLst>
                  <a:ext uri="{FF2B5EF4-FFF2-40B4-BE49-F238E27FC236}">
                    <a16:creationId xmlns:a16="http://schemas.microsoft.com/office/drawing/2014/main" id="{8A65C1B5-5324-B24D-8C8D-EBFFECF90D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3728127" y="3534571"/>
                <a:ext cx="317500" cy="101600"/>
              </a:xfrm>
              <a:prstGeom prst="rect">
                <a:avLst/>
              </a:prstGeom>
            </p:spPr>
          </p:pic>
          <p:sp>
            <p:nvSpPr>
              <p:cNvPr id="55" name="Accolade ouvrante 54">
                <a:extLst>
                  <a:ext uri="{FF2B5EF4-FFF2-40B4-BE49-F238E27FC236}">
                    <a16:creationId xmlns:a16="http://schemas.microsoft.com/office/drawing/2014/main" id="{593021B1-5925-2349-9FC3-5194B667D11D}"/>
                  </a:ext>
                </a:extLst>
              </p:cNvPr>
              <p:cNvSpPr/>
              <p:nvPr/>
            </p:nvSpPr>
            <p:spPr>
              <a:xfrm>
                <a:off x="4169768" y="3095133"/>
                <a:ext cx="149629" cy="980093"/>
              </a:xfrm>
              <a:prstGeom prst="leftBrace">
                <a:avLst>
                  <a:gd name="adj1" fmla="val 66534"/>
                  <a:gd name="adj2" fmla="val 50000"/>
                </a:avLst>
              </a:prstGeom>
              <a:ln w="127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58" name="Flèche vers la droite 57">
              <a:extLst>
                <a:ext uri="{FF2B5EF4-FFF2-40B4-BE49-F238E27FC236}">
                  <a16:creationId xmlns:a16="http://schemas.microsoft.com/office/drawing/2014/main" id="{F2E9ECB0-98D3-AD48-A3BB-3FCC7483B9A7}"/>
                </a:ext>
              </a:extLst>
            </p:cNvPr>
            <p:cNvSpPr/>
            <p:nvPr/>
          </p:nvSpPr>
          <p:spPr>
            <a:xfrm>
              <a:off x="3153987" y="4467661"/>
              <a:ext cx="451412" cy="347241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61" name="Groupe 60">
              <a:extLst>
                <a:ext uri="{FF2B5EF4-FFF2-40B4-BE49-F238E27FC236}">
                  <a16:creationId xmlns:a16="http://schemas.microsoft.com/office/drawing/2014/main" id="{7E51CB2E-8C17-D94A-91CF-DC9865D7600C}"/>
                </a:ext>
              </a:extLst>
            </p:cNvPr>
            <p:cNvGrpSpPr/>
            <p:nvPr/>
          </p:nvGrpSpPr>
          <p:grpSpPr>
            <a:xfrm>
              <a:off x="8437187" y="4153954"/>
              <a:ext cx="1877321" cy="963293"/>
              <a:chOff x="4629804" y="3103533"/>
              <a:chExt cx="1877321" cy="963293"/>
            </a:xfrm>
          </p:grpSpPr>
          <p:grpSp>
            <p:nvGrpSpPr>
              <p:cNvPr id="62" name="Groupe 61">
                <a:extLst>
                  <a:ext uri="{FF2B5EF4-FFF2-40B4-BE49-F238E27FC236}">
                    <a16:creationId xmlns:a16="http://schemas.microsoft.com/office/drawing/2014/main" id="{EDEEE707-1712-CB45-8173-D78E3F84349B}"/>
                  </a:ext>
                </a:extLst>
              </p:cNvPr>
              <p:cNvGrpSpPr/>
              <p:nvPr/>
            </p:nvGrpSpPr>
            <p:grpSpPr>
              <a:xfrm>
                <a:off x="4629804" y="3103533"/>
                <a:ext cx="1877321" cy="963293"/>
                <a:chOff x="1537251" y="3475076"/>
                <a:chExt cx="1877321" cy="963293"/>
              </a:xfrm>
            </p:grpSpPr>
            <p:sp>
              <p:nvSpPr>
                <p:cNvPr id="71" name="Ellipse 70">
                  <a:extLst>
                    <a:ext uri="{FF2B5EF4-FFF2-40B4-BE49-F238E27FC236}">
                      <a16:creationId xmlns:a16="http://schemas.microsoft.com/office/drawing/2014/main" id="{C4413AF1-0093-7E44-87DD-BAB58561173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537251" y="3475076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2" name="Ellipse 71">
                  <a:extLst>
                    <a:ext uri="{FF2B5EF4-FFF2-40B4-BE49-F238E27FC236}">
                      <a16:creationId xmlns:a16="http://schemas.microsoft.com/office/drawing/2014/main" id="{B71E82D3-C9C2-5E41-95DC-551D28AFE0E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537251" y="4294369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3" name="Ellipse 72">
                  <a:extLst>
                    <a:ext uri="{FF2B5EF4-FFF2-40B4-BE49-F238E27FC236}">
                      <a16:creationId xmlns:a16="http://schemas.microsoft.com/office/drawing/2014/main" id="{53F9C02C-0E68-A749-A548-6E8137B4402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431027" y="3884722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4" name="Ellipse 73">
                  <a:extLst>
                    <a:ext uri="{FF2B5EF4-FFF2-40B4-BE49-F238E27FC236}">
                      <a16:creationId xmlns:a16="http://schemas.microsoft.com/office/drawing/2014/main" id="{6D271178-FD85-A741-B46C-912AD1934CC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270572" y="3884722"/>
                  <a:ext cx="144000" cy="144000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cxnSp>
              <p:nvCxnSpPr>
                <p:cNvPr id="75" name="Connecteur droit 74">
                  <a:extLst>
                    <a:ext uri="{FF2B5EF4-FFF2-40B4-BE49-F238E27FC236}">
                      <a16:creationId xmlns:a16="http://schemas.microsoft.com/office/drawing/2014/main" id="{49FABD49-8FC9-C84F-9118-E599D3136F7E}"/>
                    </a:ext>
                  </a:extLst>
                </p:cNvPr>
                <p:cNvCxnSpPr>
                  <a:stCxn id="71" idx="6"/>
                  <a:endCxn id="73" idx="2"/>
                </p:cNvCxnSpPr>
                <p:nvPr/>
              </p:nvCxnSpPr>
              <p:spPr>
                <a:xfrm>
                  <a:off x="1681251" y="3547076"/>
                  <a:ext cx="749776" cy="409646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Connecteur droit 75">
                  <a:extLst>
                    <a:ext uri="{FF2B5EF4-FFF2-40B4-BE49-F238E27FC236}">
                      <a16:creationId xmlns:a16="http://schemas.microsoft.com/office/drawing/2014/main" id="{4B5A7163-FF9C-8E4E-A56D-586343F3E98D}"/>
                    </a:ext>
                  </a:extLst>
                </p:cNvPr>
                <p:cNvCxnSpPr>
                  <a:cxnSpLocks/>
                  <a:endCxn id="73" idx="2"/>
                </p:cNvCxnSpPr>
                <p:nvPr/>
              </p:nvCxnSpPr>
              <p:spPr>
                <a:xfrm flipV="1">
                  <a:off x="1681251" y="3956722"/>
                  <a:ext cx="749776" cy="40964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Connecteur droit 76">
                  <a:extLst>
                    <a:ext uri="{FF2B5EF4-FFF2-40B4-BE49-F238E27FC236}">
                      <a16:creationId xmlns:a16="http://schemas.microsoft.com/office/drawing/2014/main" id="{3B4F51C6-F488-E146-86A1-663D2E99F7B9}"/>
                    </a:ext>
                  </a:extLst>
                </p:cNvPr>
                <p:cNvCxnSpPr>
                  <a:cxnSpLocks/>
                  <a:endCxn id="74" idx="2"/>
                </p:cNvCxnSpPr>
                <p:nvPr/>
              </p:nvCxnSpPr>
              <p:spPr>
                <a:xfrm>
                  <a:off x="2575027" y="3956722"/>
                  <a:ext cx="695545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67" name="Image 66">
                <a:extLst>
                  <a:ext uri="{FF2B5EF4-FFF2-40B4-BE49-F238E27FC236}">
                    <a16:creationId xmlns:a16="http://schemas.microsoft.com/office/drawing/2014/main" id="{58AA1220-AC99-E048-B71F-21A89A1EC0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5132731" y="3814192"/>
                <a:ext cx="101600" cy="152400"/>
              </a:xfrm>
              <a:prstGeom prst="rect">
                <a:avLst/>
              </a:prstGeom>
            </p:spPr>
          </p:pic>
          <p:pic>
            <p:nvPicPr>
              <p:cNvPr id="68" name="Image 67">
                <a:extLst>
                  <a:ext uri="{FF2B5EF4-FFF2-40B4-BE49-F238E27FC236}">
                    <a16:creationId xmlns:a16="http://schemas.microsoft.com/office/drawing/2014/main" id="{DF36D2BA-29A5-0E41-8D52-DB7D98976C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5964552" y="3402526"/>
                <a:ext cx="101600" cy="152400"/>
              </a:xfrm>
              <a:prstGeom prst="rect">
                <a:avLst/>
              </a:prstGeom>
            </p:spPr>
          </p:pic>
        </p:grpSp>
        <p:pic>
          <p:nvPicPr>
            <p:cNvPr id="78" name="Image 77">
              <a:extLst>
                <a:ext uri="{FF2B5EF4-FFF2-40B4-BE49-F238E27FC236}">
                  <a16:creationId xmlns:a16="http://schemas.microsoft.com/office/drawing/2014/main" id="{FA2BAD7F-C5F0-C846-9193-69F2890B6A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8860825" y="4221754"/>
              <a:ext cx="190500" cy="152400"/>
            </a:xfrm>
            <a:prstGeom prst="rect">
              <a:avLst/>
            </a:prstGeom>
          </p:spPr>
        </p:pic>
        <p:sp>
          <p:nvSpPr>
            <p:cNvPr id="79" name="Flèche vers la droite 78">
              <a:extLst>
                <a:ext uri="{FF2B5EF4-FFF2-40B4-BE49-F238E27FC236}">
                  <a16:creationId xmlns:a16="http://schemas.microsoft.com/office/drawing/2014/main" id="{0EF2F341-8121-9746-AD1A-AEFD78BF002D}"/>
                </a:ext>
              </a:extLst>
            </p:cNvPr>
            <p:cNvSpPr/>
            <p:nvPr/>
          </p:nvSpPr>
          <p:spPr>
            <a:xfrm>
              <a:off x="7464827" y="4465861"/>
              <a:ext cx="451412" cy="347241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82" name="Image 81">
            <a:extLst>
              <a:ext uri="{FF2B5EF4-FFF2-40B4-BE49-F238E27FC236}">
                <a16:creationId xmlns:a16="http://schemas.microsoft.com/office/drawing/2014/main" id="{C0703665-C9A9-584E-9AF3-BCEEB8C0F4A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874234" y="4230607"/>
            <a:ext cx="787400" cy="215900"/>
          </a:xfrm>
          <a:prstGeom prst="rect">
            <a:avLst/>
          </a:prstGeom>
        </p:spPr>
      </p:pic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BEA429DC-E97C-D446-ADF7-BD4612E48236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11198814" cy="5376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Goal:</a:t>
            </a:r>
            <a:r>
              <a:rPr lang="en-US" sz="1600" b="1" dirty="0"/>
              <a:t> </a:t>
            </a:r>
            <a:r>
              <a:rPr lang="en-US" sz="1600" dirty="0"/>
              <a:t>Now we have our hypothesis &amp; our tools </a:t>
            </a:r>
            <a:r>
              <a:rPr lang="en-US" sz="1600" dirty="0">
                <a:sym typeface="Wingdings" pitchFamily="2" charset="2"/>
              </a:rPr>
              <a:t> we build our </a:t>
            </a:r>
            <a:r>
              <a:rPr lang="en-US" sz="1600" b="1" dirty="0">
                <a:solidFill>
                  <a:schemeClr val="tx2"/>
                </a:solidFill>
                <a:sym typeface="Wingdings" pitchFamily="2" charset="2"/>
              </a:rPr>
              <a:t>features for our detector</a:t>
            </a:r>
            <a:endParaRPr lang="en-US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713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41BACE-647B-4FD1-9C69-FD868CBE2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9003" y="727202"/>
            <a:ext cx="4360803" cy="3254400"/>
          </a:xfrm>
        </p:spPr>
        <p:txBody>
          <a:bodyPr/>
          <a:lstStyle/>
          <a:p>
            <a:pPr algn="ctr"/>
            <a:r>
              <a:rPr lang="en-US" dirty="0"/>
              <a:t>Outline and Motivation</a:t>
            </a:r>
            <a:endParaRPr lang="en-GB" dirty="0"/>
          </a:p>
        </p:txBody>
      </p: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2E872277-AE56-5715-F673-0F70C29CF3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9411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Extracting the Topological Feature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Persistent Diagram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29"/>
            <a:ext cx="11198814" cy="44117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Filtration definition:</a:t>
            </a:r>
            <a:r>
              <a:rPr lang="en-US" sz="1600" b="1" dirty="0"/>
              <a:t> </a:t>
            </a:r>
            <a:r>
              <a:rPr lang="en-US" sz="1600" dirty="0"/>
              <a:t>an edge between            appears at time                 </a:t>
            </a:r>
            <a:r>
              <a:rPr lang="en-US" sz="1600" dirty="0">
                <a:sym typeface="Wingdings" pitchFamily="2" charset="2"/>
              </a:rPr>
              <a:t>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strong edges appear first</a:t>
            </a:r>
            <a:endParaRPr lang="en-US" sz="1600" dirty="0">
              <a:solidFill>
                <a:schemeClr val="tx2"/>
              </a:solidFill>
            </a:endParaRPr>
          </a:p>
          <a:p>
            <a:endParaRPr lang="en-US" sz="1600" b="1" u="sng" dirty="0"/>
          </a:p>
          <a:p>
            <a:r>
              <a:rPr lang="en-US" sz="1600" b="1" u="sng" dirty="0"/>
              <a:t>Persistent Diagram (PD) computation: </a:t>
            </a:r>
          </a:p>
          <a:p>
            <a:endParaRPr lang="en-US" sz="1600" b="1" u="sng" dirty="0"/>
          </a:p>
          <a:p>
            <a:r>
              <a:rPr lang="en-US" sz="1600" b="1" u="sng" dirty="0"/>
              <a:t>Simpler comparative setting:</a:t>
            </a:r>
          </a:p>
          <a:p>
            <a:pPr marL="285750" indent="-285750">
              <a:buFontTx/>
              <a:buChar char="-"/>
            </a:pPr>
            <a:r>
              <a:rPr lang="en-US" sz="1600" dirty="0">
                <a:solidFill>
                  <a:schemeClr val="tx2"/>
                </a:solidFill>
              </a:rPr>
              <a:t>Raw Graph </a:t>
            </a:r>
            <a:r>
              <a:rPr lang="en-US" sz="1600" dirty="0"/>
              <a:t>represents just the weights of the edges </a:t>
            </a:r>
          </a:p>
          <a:p>
            <a:r>
              <a:rPr lang="en-US" sz="1600" dirty="0"/>
              <a:t>                                                  with  </a:t>
            </a:r>
          </a:p>
          <a:p>
            <a:endParaRPr lang="en-US" sz="1600" dirty="0"/>
          </a:p>
          <a:p>
            <a:r>
              <a:rPr lang="en-US" sz="1600" dirty="0"/>
              <a:t>         Two methods: </a:t>
            </a:r>
            <a:r>
              <a:rPr lang="en-US" sz="1600" b="1" dirty="0">
                <a:solidFill>
                  <a:schemeClr val="tx2"/>
                </a:solidFill>
              </a:rPr>
              <a:t>main one = PD </a:t>
            </a:r>
            <a:r>
              <a:rPr lang="en-US" sz="1600" dirty="0"/>
              <a:t>+ simple comparator = RG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C0E55DE-747A-044B-B174-2D0972FE30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5306" y="1623141"/>
            <a:ext cx="444500" cy="2159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689B32F-6E68-0E46-AE5A-1AAED87B4B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7893" y="1613697"/>
            <a:ext cx="622300" cy="2286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96F930C-C083-2843-838D-8E7CC586ED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74990" y="2378723"/>
            <a:ext cx="952500" cy="2159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60482B9-FB63-6248-8792-AFAE2146A4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8018" y="3821892"/>
            <a:ext cx="1930400" cy="2159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2F53BDFD-0B30-E846-B38D-4032896AC4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9794" y="3833767"/>
            <a:ext cx="2222500" cy="215900"/>
          </a:xfrm>
          <a:prstGeom prst="rect">
            <a:avLst/>
          </a:prstGeom>
        </p:spPr>
      </p:pic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95221701-021B-504C-95B2-958DDDDB6C89}"/>
              </a:ext>
            </a:extLst>
          </p:cNvPr>
          <p:cNvCxnSpPr>
            <a:cxnSpLocks/>
          </p:cNvCxnSpPr>
          <p:nvPr/>
        </p:nvCxnSpPr>
        <p:spPr>
          <a:xfrm>
            <a:off x="612045" y="4679019"/>
            <a:ext cx="294414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76060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Differentiating Clean and Adversarial Input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Differences in simple setup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9800499" cy="19642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Framework:</a:t>
            </a:r>
            <a:r>
              <a:rPr lang="en-US" sz="1600" b="1" dirty="0"/>
              <a:t> </a:t>
            </a:r>
            <a:r>
              <a:rPr lang="en-US" sz="1600" dirty="0"/>
              <a:t>Creating the PDs for a bunch of clean inputs and adversarial inputs</a:t>
            </a:r>
            <a:endParaRPr lang="en-US" sz="1600" b="1" u="sng" dirty="0"/>
          </a:p>
          <a:p>
            <a:r>
              <a:rPr lang="en-US" sz="1600" b="1" u="sng" dirty="0"/>
              <a:t>Simple case:</a:t>
            </a:r>
            <a:r>
              <a:rPr lang="en-US" sz="1600" b="1" dirty="0"/>
              <a:t> </a:t>
            </a:r>
            <a:r>
              <a:rPr lang="en-US" sz="1600" dirty="0"/>
              <a:t>just </a:t>
            </a:r>
            <a:r>
              <a:rPr lang="en-US" sz="1600" dirty="0">
                <a:solidFill>
                  <a:schemeClr val="tx2"/>
                </a:solidFill>
              </a:rPr>
              <a:t>counting</a:t>
            </a:r>
            <a:r>
              <a:rPr lang="en-US" sz="1600" dirty="0"/>
              <a:t> the number of points / number of infinity-lived points in the persistent diagrams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Dataset MNIST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Architecture </a:t>
            </a:r>
            <a:r>
              <a:rPr lang="en-US" sz="1600" dirty="0" err="1"/>
              <a:t>LeNet</a:t>
            </a:r>
            <a:endParaRPr lang="en-US" sz="1600" dirty="0"/>
          </a:p>
          <a:p>
            <a:pPr marL="285750" indent="-285750">
              <a:buFontTx/>
              <a:buChar char="-"/>
            </a:pPr>
            <a:endParaRPr lang="en-US" sz="1600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2E11807-B8A3-FB49-B1E9-B735F4F401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9111" y="3324753"/>
            <a:ext cx="8443694" cy="1751722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EABAEDE-6EF7-9B4C-A387-E2186DD82D4B}"/>
              </a:ext>
            </a:extLst>
          </p:cNvPr>
          <p:cNvSpPr txBox="1">
            <a:spLocks/>
          </p:cNvSpPr>
          <p:nvPr/>
        </p:nvSpPr>
        <p:spPr>
          <a:xfrm>
            <a:off x="459150" y="5311204"/>
            <a:ext cx="5011207" cy="421766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ym typeface="Wingdings" pitchFamily="2" charset="2"/>
              </a:rPr>
              <a:t>We can perfectly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separate</a:t>
            </a:r>
            <a:r>
              <a:rPr lang="en-US" sz="1600" dirty="0">
                <a:sym typeface="Wingdings" pitchFamily="2" charset="2"/>
              </a:rPr>
              <a:t> clean and adversarial examples!</a:t>
            </a:r>
          </a:p>
        </p:txBody>
      </p:sp>
    </p:spTree>
    <p:extLst>
      <p:ext uri="{BB962C8B-B14F-4D97-AF65-F5344CB8AC3E}">
        <p14:creationId xmlns:p14="http://schemas.microsoft.com/office/powerpoint/2010/main" val="41123308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Differentiating Clean and Adversarial Input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Detection method in complex setup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11198814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Pipeline</a:t>
            </a:r>
          </a:p>
          <a:p>
            <a:pPr marL="342900" indent="-342900">
              <a:buAutoNum type="arabicParenR"/>
            </a:pPr>
            <a:r>
              <a:rPr lang="en-US" sz="1600" dirty="0">
                <a:solidFill>
                  <a:schemeClr val="tx2"/>
                </a:solidFill>
              </a:rPr>
              <a:t>Pre-processing: </a:t>
            </a:r>
            <a:r>
              <a:rPr lang="en-US" sz="1600" dirty="0"/>
              <a:t>run adversarial attacks and keep successful adversarial inputs &amp; take clean inputs</a:t>
            </a:r>
          </a:p>
          <a:p>
            <a:pPr marL="342900" indent="-342900">
              <a:buAutoNum type="arabicParenR"/>
            </a:pPr>
            <a:r>
              <a:rPr lang="en-US" sz="1600" dirty="0">
                <a:solidFill>
                  <a:schemeClr val="tx2"/>
                </a:solidFill>
              </a:rPr>
              <a:t>Feature extraction</a:t>
            </a:r>
            <a:r>
              <a:rPr lang="en-US" sz="1600" dirty="0"/>
              <a:t>: PD (and RG) &amp; state-of-the-art baselines (LID and </a:t>
            </a:r>
            <a:r>
              <a:rPr lang="en-US" sz="1600" dirty="0" err="1"/>
              <a:t>Mahalanobis</a:t>
            </a:r>
            <a:r>
              <a:rPr lang="en-US" sz="1600" dirty="0"/>
              <a:t>)</a:t>
            </a:r>
          </a:p>
          <a:p>
            <a:pPr marL="342900" indent="-342900">
              <a:buAutoNum type="arabicParenR"/>
            </a:pPr>
            <a:r>
              <a:rPr lang="en-US" sz="1600" dirty="0">
                <a:solidFill>
                  <a:schemeClr val="tx2"/>
                </a:solidFill>
              </a:rPr>
              <a:t>Detector: </a:t>
            </a:r>
            <a:r>
              <a:rPr lang="en-US" sz="1600" dirty="0"/>
              <a:t>train a one-class SVM (unsupervised) on the clean features for each method</a:t>
            </a:r>
          </a:p>
          <a:p>
            <a:endParaRPr lang="en-US" sz="1600" dirty="0"/>
          </a:p>
          <a:p>
            <a:r>
              <a:rPr lang="en-US" sz="1600" b="1" u="sng" dirty="0"/>
              <a:t>Evaluation metric:</a:t>
            </a:r>
            <a:r>
              <a:rPr lang="en-US" sz="1600" b="1" dirty="0"/>
              <a:t> </a:t>
            </a:r>
            <a:r>
              <a:rPr lang="en-US" sz="1600" dirty="0"/>
              <a:t>AUC + Kernel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PD: Sliced-Wasserstein kernel defined by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  <a:p>
            <a:pPr marL="285750" indent="-285750">
              <a:spcBef>
                <a:spcPts val="1500"/>
              </a:spcBef>
              <a:buFontTx/>
              <a:buChar char="-"/>
            </a:pPr>
            <a:r>
              <a:rPr lang="en-US" sz="1600" dirty="0"/>
              <a:t>Others: RBF kernel defined by 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22D19D0-DCCC-174C-A461-3AD341CBA5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018" y="4057152"/>
            <a:ext cx="6248400" cy="4953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C720E9AA-662F-4F47-AC86-0B0CC67B77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2487" y="4558841"/>
            <a:ext cx="4978400" cy="4953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9C5A941-A03D-C444-90A1-7601D22932E4}"/>
              </a:ext>
            </a:extLst>
          </p:cNvPr>
          <p:cNvSpPr txBox="1">
            <a:spLocks/>
          </p:cNvSpPr>
          <p:nvPr/>
        </p:nvSpPr>
        <p:spPr>
          <a:xfrm>
            <a:off x="4139145" y="3733590"/>
            <a:ext cx="2275191" cy="4048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Carriere et al. 2017]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D89C6BD-9312-D648-9C76-16BD8BECA65E}"/>
              </a:ext>
            </a:extLst>
          </p:cNvPr>
          <p:cNvSpPr txBox="1">
            <a:spLocks/>
          </p:cNvSpPr>
          <p:nvPr/>
        </p:nvSpPr>
        <p:spPr>
          <a:xfrm>
            <a:off x="7657109" y="2271866"/>
            <a:ext cx="3057171" cy="8057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Ma et al. 2018], [Lee et al. 2018] </a:t>
            </a:r>
          </a:p>
        </p:txBody>
      </p:sp>
    </p:spTree>
    <p:extLst>
      <p:ext uri="{BB962C8B-B14F-4D97-AF65-F5344CB8AC3E}">
        <p14:creationId xmlns:p14="http://schemas.microsoft.com/office/powerpoint/2010/main" val="25048037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Differentiating Clean and Adversarial Input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Result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9800499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DC83CBA-8248-2542-BAD6-48BAD1F29E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8479" y="1271353"/>
            <a:ext cx="8099972" cy="4586731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97CBBB8-2FFA-C642-BDB8-31AEBFE8B783}"/>
              </a:ext>
            </a:extLst>
          </p:cNvPr>
          <p:cNvSpPr txBox="1">
            <a:spLocks/>
          </p:cNvSpPr>
          <p:nvPr/>
        </p:nvSpPr>
        <p:spPr>
          <a:xfrm>
            <a:off x="3469987" y="5919915"/>
            <a:ext cx="4196955" cy="421766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ym typeface="Wingdings" pitchFamily="2" charset="2"/>
              </a:rPr>
              <a:t>Persistent Diagram is the most effective detector</a:t>
            </a:r>
          </a:p>
        </p:txBody>
      </p:sp>
    </p:spTree>
    <p:extLst>
      <p:ext uri="{BB962C8B-B14F-4D97-AF65-F5344CB8AC3E}">
        <p14:creationId xmlns:p14="http://schemas.microsoft.com/office/powerpoint/2010/main" val="24794253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Adversarial Robustness and Topology of Neural Network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Conclusion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9800499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FC5C2D-68EC-154E-B69B-37BE5B8D01DA}"/>
              </a:ext>
            </a:extLst>
          </p:cNvPr>
          <p:cNvSpPr txBox="1">
            <a:spLocks/>
          </p:cNvSpPr>
          <p:nvPr/>
        </p:nvSpPr>
        <p:spPr>
          <a:xfrm>
            <a:off x="464451" y="1649197"/>
            <a:ext cx="9346830" cy="48119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Takeaways:</a:t>
            </a:r>
            <a:endParaRPr lang="en-US" sz="1600" b="1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arenR"/>
            </a:pPr>
            <a:r>
              <a:rPr lang="en-US" sz="1600" dirty="0">
                <a:solidFill>
                  <a:schemeClr val="tx2"/>
                </a:solidFill>
              </a:rPr>
              <a:t>Verified hypothesis </a:t>
            </a:r>
            <a:r>
              <a:rPr lang="en-US" sz="1600" dirty="0"/>
              <a:t>on the reasons for the vulnerability of networks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/>
              <a:t>Paved the way for more studies on the </a:t>
            </a:r>
            <a:r>
              <a:rPr lang="en-US" sz="1600" dirty="0">
                <a:solidFill>
                  <a:schemeClr val="tx2"/>
                </a:solidFill>
              </a:rPr>
              <a:t>topology</a:t>
            </a:r>
            <a:r>
              <a:rPr lang="en-US" sz="1600" dirty="0"/>
              <a:t> of networks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 </a:t>
            </a:r>
            <a:r>
              <a:rPr lang="en-US" sz="1600" dirty="0">
                <a:sym typeface="Wingdings" pitchFamily="2" charset="2"/>
              </a:rPr>
              <a:t>Effective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detector</a:t>
            </a:r>
            <a:r>
              <a:rPr lang="en-US" sz="1600" dirty="0">
                <a:sym typeface="Wingdings" pitchFamily="2" charset="2"/>
              </a:rPr>
              <a:t> to identify adversarial input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en-US" sz="1600" dirty="0">
              <a:solidFill>
                <a:schemeClr val="tx1"/>
              </a:solidFill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Limitation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arenR"/>
            </a:pPr>
            <a:r>
              <a:rPr lang="en-US" sz="1600" dirty="0">
                <a:solidFill>
                  <a:schemeClr val="accent2"/>
                </a:solidFill>
              </a:rPr>
              <a:t>Scaling </a:t>
            </a:r>
            <a:r>
              <a:rPr lang="en-US" sz="1600" dirty="0"/>
              <a:t>to very large networks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arenR"/>
            </a:pPr>
            <a:r>
              <a:rPr lang="en-US" sz="1600" dirty="0">
                <a:solidFill>
                  <a:schemeClr val="accent2"/>
                </a:solidFill>
              </a:rPr>
              <a:t>Parameters and under-optimized edges </a:t>
            </a:r>
            <a:r>
              <a:rPr lang="en-US" sz="1600" dirty="0"/>
              <a:t>selection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Open questions:</a:t>
            </a:r>
            <a:endParaRPr lang="en-US" sz="1600" dirty="0">
              <a:solidFill>
                <a:schemeClr val="accent2"/>
              </a:solidFill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arenR"/>
            </a:pPr>
            <a:r>
              <a:rPr lang="en-US" sz="1600" dirty="0">
                <a:solidFill>
                  <a:schemeClr val="accent4">
                    <a:lumMod val="50000"/>
                  </a:schemeClr>
                </a:solidFill>
              </a:rPr>
              <a:t>More theoretical works </a:t>
            </a:r>
            <a:r>
              <a:rPr lang="en-US" sz="1600" dirty="0"/>
              <a:t>on the link between robustness and pruning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arenR"/>
            </a:pPr>
            <a:r>
              <a:rPr lang="en-US" sz="1600" dirty="0">
                <a:solidFill>
                  <a:schemeClr val="accent4">
                    <a:lumMod val="50000"/>
                  </a:schemeClr>
                </a:solidFill>
              </a:rPr>
              <a:t>Identify critical parts </a:t>
            </a:r>
            <a:r>
              <a:rPr lang="en-US" sz="1600" dirty="0"/>
              <a:t>of large networks for robustnes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4541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General Conclusion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Conclusion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9800499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FC5C2D-68EC-154E-B69B-37BE5B8D01DA}"/>
              </a:ext>
            </a:extLst>
          </p:cNvPr>
          <p:cNvSpPr txBox="1">
            <a:spLocks/>
          </p:cNvSpPr>
          <p:nvPr/>
        </p:nvSpPr>
        <p:spPr>
          <a:xfrm>
            <a:off x="464451" y="1649197"/>
            <a:ext cx="11193514" cy="48119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Broad question: </a:t>
            </a:r>
            <a:r>
              <a:rPr lang="en-US" sz="1600" dirty="0"/>
              <a:t>how can we make sure that statistical / ML models will remain performant when dealing with corrupted data?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Takeaways </a:t>
            </a:r>
            <a:endParaRPr lang="en-US" sz="1600" b="1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AutoNum type="arabicParenR"/>
            </a:pPr>
            <a:r>
              <a:rPr lang="en-US" sz="1600" dirty="0">
                <a:solidFill>
                  <a:schemeClr val="tx2"/>
                </a:solidFill>
              </a:rPr>
              <a:t>Initialization</a:t>
            </a:r>
            <a:r>
              <a:rPr lang="en-US" sz="1600" dirty="0"/>
              <a:t> of the field of robustness for </a:t>
            </a:r>
            <a:r>
              <a:rPr lang="en-US" sz="1600" dirty="0">
                <a:solidFill>
                  <a:schemeClr val="tx2"/>
                </a:solidFill>
              </a:rPr>
              <a:t>ranking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tx1"/>
                </a:solidFill>
              </a:rPr>
              <a:t>I provided:</a:t>
            </a:r>
          </a:p>
          <a:p>
            <a:pPr marL="800089" lvl="1" indent="-342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AutoNum type="arabicParenR"/>
            </a:pPr>
            <a:r>
              <a:rPr lang="en-US" sz="1600" dirty="0">
                <a:solidFill>
                  <a:schemeClr val="tx1"/>
                </a:solidFill>
              </a:rPr>
              <a:t>Evaluation methods to assess the robustness</a:t>
            </a:r>
          </a:p>
          <a:p>
            <a:pPr marL="800089" lvl="1" indent="-342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AutoNum type="arabicParenR"/>
            </a:pPr>
            <a:r>
              <a:rPr lang="en-US" sz="1600" dirty="0">
                <a:solidFill>
                  <a:schemeClr val="tx1"/>
                </a:solidFill>
              </a:rPr>
              <a:t>Robust statistics (plugin method, trimming strategy)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AutoNum type="arabicParenR"/>
            </a:pPr>
            <a:r>
              <a:rPr lang="en-US" sz="1600" dirty="0"/>
              <a:t>Better </a:t>
            </a:r>
            <a:r>
              <a:rPr lang="en-US" sz="1600" dirty="0">
                <a:solidFill>
                  <a:schemeClr val="tx2"/>
                </a:solidFill>
              </a:rPr>
              <a:t>understanding</a:t>
            </a:r>
            <a:r>
              <a:rPr lang="en-US" sz="1600" dirty="0"/>
              <a:t> of the way adversarial attacks work against </a:t>
            </a:r>
            <a:r>
              <a:rPr lang="en-US" sz="1600" dirty="0">
                <a:solidFill>
                  <a:schemeClr val="tx2"/>
                </a:solidFill>
              </a:rPr>
              <a:t>NN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tx1"/>
                </a:solidFill>
              </a:rPr>
              <a:t>I provided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tx1"/>
                </a:solidFill>
              </a:rPr>
              <a:t>1) An </a:t>
            </a:r>
            <a:r>
              <a:rPr lang="en-US" sz="1600" dirty="0"/>
              <a:t>hypothesis</a:t>
            </a:r>
            <a:r>
              <a:rPr lang="en-US" sz="1600" dirty="0">
                <a:solidFill>
                  <a:schemeClr val="tx1"/>
                </a:solidFill>
              </a:rPr>
              <a:t> to explain the success of adversarial examples based on the </a:t>
            </a:r>
            <a:r>
              <a:rPr lang="en-US" sz="1600" dirty="0"/>
              <a:t>topology</a:t>
            </a:r>
            <a:r>
              <a:rPr lang="en-US" sz="1600" dirty="0">
                <a:solidFill>
                  <a:schemeClr val="tx1"/>
                </a:solidFill>
              </a:rPr>
              <a:t> and </a:t>
            </a:r>
            <a:r>
              <a:rPr lang="en-US" sz="1600" dirty="0"/>
              <a:t>over-parametrization</a:t>
            </a:r>
            <a:r>
              <a:rPr lang="en-US" sz="1600" dirty="0">
                <a:solidFill>
                  <a:schemeClr val="tx1"/>
                </a:solidFill>
              </a:rPr>
              <a:t> of NN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tx1"/>
                </a:solidFill>
              </a:rPr>
              <a:t>2) A very efficient </a:t>
            </a:r>
            <a:r>
              <a:rPr lang="en-US" sz="1600" dirty="0"/>
              <a:t>detector</a:t>
            </a:r>
            <a:r>
              <a:rPr lang="en-US" sz="1600" dirty="0">
                <a:solidFill>
                  <a:schemeClr val="tx1"/>
                </a:solidFill>
              </a:rPr>
              <a:t> of adversarial example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tx1"/>
                </a:solidFill>
              </a:rPr>
              <a:t>3) A </a:t>
            </a:r>
            <a:r>
              <a:rPr lang="en-US" sz="1600" dirty="0"/>
              <a:t>theoretical analysis </a:t>
            </a:r>
            <a:r>
              <a:rPr lang="en-US" sz="1600" dirty="0">
                <a:solidFill>
                  <a:schemeClr val="tx1"/>
                </a:solidFill>
              </a:rPr>
              <a:t>of the success of a subclass of adversarial attacks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endParaRPr lang="en-US" sz="1600" dirty="0">
              <a:solidFill>
                <a:schemeClr val="tx1"/>
              </a:solidFill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600" b="1" u="sng" dirty="0"/>
              <a:t>Broader questions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AutoNum type="arabicParenR"/>
            </a:pPr>
            <a:r>
              <a:rPr lang="en-US" sz="1600" dirty="0"/>
              <a:t>Rankings: more/different methods and strategies, systematic analysis, </a:t>
            </a:r>
            <a:r>
              <a:rPr lang="en-US" sz="1600" dirty="0">
                <a:solidFill>
                  <a:srgbClr val="FFC000"/>
                </a:solidFill>
              </a:rPr>
              <a:t>extension to “real-world” tasks  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AutoNum type="arabicParenR"/>
            </a:pPr>
            <a:r>
              <a:rPr lang="en-US" sz="1600" dirty="0"/>
              <a:t>NNs: extension of </a:t>
            </a:r>
            <a:r>
              <a:rPr lang="en-US" sz="1600" dirty="0">
                <a:solidFill>
                  <a:srgbClr val="FFC000"/>
                </a:solidFill>
              </a:rPr>
              <a:t>theory</a:t>
            </a:r>
            <a:r>
              <a:rPr lang="en-US" sz="1600" dirty="0"/>
              <a:t> to our practical NNs settings, scaling, </a:t>
            </a:r>
            <a:r>
              <a:rPr lang="en-US" sz="1600" dirty="0">
                <a:solidFill>
                  <a:srgbClr val="FFC000"/>
                </a:solidFill>
              </a:rPr>
              <a:t>link with other topics </a:t>
            </a:r>
            <a:r>
              <a:rPr lang="en-US" sz="1600" dirty="0"/>
              <a:t>(generalization, </a:t>
            </a:r>
            <a:r>
              <a:rPr lang="en-US" sz="1600" dirty="0" err="1"/>
              <a:t>explainability</a:t>
            </a:r>
            <a:r>
              <a:rPr lang="en-US" sz="1600" dirty="0"/>
              <a:t>, etc.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7318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DAA457-A278-49C3-A69A-49B23D2955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535" y="2798362"/>
            <a:ext cx="3620656" cy="687997"/>
          </a:xfrm>
        </p:spPr>
        <p:txBody>
          <a:bodyPr/>
          <a:lstStyle/>
          <a:p>
            <a:r>
              <a:rPr lang="en-US" dirty="0"/>
              <a:t>Thank you!</a:t>
            </a:r>
            <a:endParaRPr lang="en-GB" dirty="0"/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82FAC381-9052-C849-9154-5F5E7D051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2168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Bibliography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9800499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FC5C2D-68EC-154E-B69B-37BE5B8D01DA}"/>
              </a:ext>
            </a:extLst>
          </p:cNvPr>
          <p:cNvSpPr txBox="1">
            <a:spLocks/>
          </p:cNvSpPr>
          <p:nvPr/>
        </p:nvSpPr>
        <p:spPr>
          <a:xfrm>
            <a:off x="464451" y="1348941"/>
            <a:ext cx="11193514" cy="48119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/>
              <a:t>Condorcet, N. (1785). Essai sur l’application de l’analyse à la probabilité des décisions rendues à la pluralité des voix. L’Imprimerie Royale, Paris.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/>
              <a:t>Korba, A., </a:t>
            </a:r>
            <a:r>
              <a:rPr lang="fr-FR" dirty="0" err="1"/>
              <a:t>Clémençon</a:t>
            </a:r>
            <a:r>
              <a:rPr lang="fr-FR" dirty="0"/>
              <a:t>, S., and </a:t>
            </a:r>
            <a:r>
              <a:rPr lang="fr-FR" dirty="0" err="1"/>
              <a:t>Sibony</a:t>
            </a:r>
            <a:r>
              <a:rPr lang="fr-FR" dirty="0"/>
              <a:t>, E. A </a:t>
            </a:r>
            <a:r>
              <a:rPr lang="fr-FR" dirty="0" err="1"/>
              <a:t>learning</a:t>
            </a:r>
            <a:r>
              <a:rPr lang="fr-FR" dirty="0"/>
              <a:t> </a:t>
            </a:r>
            <a:r>
              <a:rPr lang="fr-FR" dirty="0" err="1"/>
              <a:t>theory</a:t>
            </a:r>
            <a:r>
              <a:rPr lang="fr-FR" dirty="0"/>
              <a:t> of </a:t>
            </a:r>
            <a:r>
              <a:rPr lang="fr-FR" dirty="0" err="1"/>
              <a:t>ranking</a:t>
            </a:r>
            <a:r>
              <a:rPr lang="fr-FR" dirty="0"/>
              <a:t> </a:t>
            </a:r>
            <a:r>
              <a:rPr lang="fr-FR" dirty="0" err="1"/>
              <a:t>aggregation</a:t>
            </a:r>
            <a:r>
              <a:rPr lang="fr-FR" dirty="0"/>
              <a:t>. (AISTATS 2017)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 err="1"/>
              <a:t>Dwork</a:t>
            </a:r>
            <a:r>
              <a:rPr lang="fr-FR" dirty="0"/>
              <a:t>, C., Kumar, R., </a:t>
            </a:r>
            <a:r>
              <a:rPr lang="fr-FR" dirty="0" err="1"/>
              <a:t>Naor</a:t>
            </a:r>
            <a:r>
              <a:rPr lang="fr-FR" dirty="0"/>
              <a:t>, M., and </a:t>
            </a:r>
            <a:r>
              <a:rPr lang="fr-FR" dirty="0" err="1"/>
              <a:t>Sivakumar</a:t>
            </a:r>
            <a:r>
              <a:rPr lang="fr-FR" dirty="0"/>
              <a:t>, D. Rank </a:t>
            </a:r>
            <a:r>
              <a:rPr lang="fr-FR" dirty="0" err="1"/>
              <a:t>aggregation</a:t>
            </a:r>
            <a:r>
              <a:rPr lang="fr-FR" dirty="0"/>
              <a:t> </a:t>
            </a:r>
            <a:r>
              <a:rPr lang="fr-FR" dirty="0" err="1"/>
              <a:t>methods</a:t>
            </a:r>
            <a:r>
              <a:rPr lang="fr-FR" dirty="0"/>
              <a:t> for the web. (In Rank </a:t>
            </a:r>
            <a:r>
              <a:rPr lang="fr-FR" dirty="0" err="1"/>
              <a:t>aggregation</a:t>
            </a:r>
            <a:r>
              <a:rPr lang="fr-FR" dirty="0"/>
              <a:t> </a:t>
            </a:r>
            <a:r>
              <a:rPr lang="fr-FR" dirty="0" err="1"/>
              <a:t>methods</a:t>
            </a:r>
            <a:r>
              <a:rPr lang="fr-FR" dirty="0"/>
              <a:t> for the Web 2021)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 err="1"/>
              <a:t>Agarwal</a:t>
            </a:r>
            <a:r>
              <a:rPr lang="fr-FR" dirty="0"/>
              <a:t>, A., </a:t>
            </a:r>
            <a:r>
              <a:rPr lang="fr-FR" dirty="0" err="1"/>
              <a:t>Agarwal</a:t>
            </a:r>
            <a:r>
              <a:rPr lang="fr-FR" dirty="0"/>
              <a:t>, S., </a:t>
            </a:r>
            <a:r>
              <a:rPr lang="fr-FR" dirty="0" err="1"/>
              <a:t>Khanna</a:t>
            </a:r>
            <a:r>
              <a:rPr lang="fr-FR" dirty="0"/>
              <a:t>, S., and </a:t>
            </a:r>
            <a:r>
              <a:rPr lang="fr-FR" dirty="0" err="1"/>
              <a:t>Patil</a:t>
            </a:r>
            <a:r>
              <a:rPr lang="fr-FR" dirty="0"/>
              <a:t>, P. Rank </a:t>
            </a:r>
            <a:r>
              <a:rPr lang="fr-FR" dirty="0" err="1"/>
              <a:t>aggregation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</a:t>
            </a:r>
            <a:r>
              <a:rPr lang="fr-FR" dirty="0" err="1"/>
              <a:t>pairwise</a:t>
            </a:r>
            <a:r>
              <a:rPr lang="fr-FR" dirty="0"/>
              <a:t> </a:t>
            </a:r>
            <a:r>
              <a:rPr lang="fr-FR" dirty="0" err="1"/>
              <a:t>comparisons</a:t>
            </a:r>
            <a:r>
              <a:rPr lang="fr-FR" dirty="0"/>
              <a:t> in the </a:t>
            </a:r>
            <a:r>
              <a:rPr lang="fr-FR" dirty="0" err="1"/>
              <a:t>presence</a:t>
            </a:r>
            <a:r>
              <a:rPr lang="fr-FR" dirty="0"/>
              <a:t> of </a:t>
            </a:r>
            <a:r>
              <a:rPr lang="fr-FR" dirty="0" err="1"/>
              <a:t>adversarial</a:t>
            </a:r>
            <a:r>
              <a:rPr lang="fr-FR" dirty="0"/>
              <a:t> corruptions. (ICML 2023)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/>
              <a:t>Huber, P. J. </a:t>
            </a:r>
            <a:r>
              <a:rPr lang="fr-FR" dirty="0" err="1"/>
              <a:t>Robust</a:t>
            </a:r>
            <a:r>
              <a:rPr lang="fr-FR" dirty="0"/>
              <a:t> estimation of a location </a:t>
            </a:r>
            <a:r>
              <a:rPr lang="fr-FR" dirty="0" err="1"/>
              <a:t>parameter</a:t>
            </a:r>
            <a:r>
              <a:rPr lang="fr-FR" dirty="0"/>
              <a:t>. (The </a:t>
            </a:r>
            <a:r>
              <a:rPr lang="fr-FR" dirty="0" err="1"/>
              <a:t>Annals</a:t>
            </a:r>
            <a:r>
              <a:rPr lang="fr-FR" dirty="0"/>
              <a:t> of </a:t>
            </a:r>
            <a:r>
              <a:rPr lang="fr-FR" dirty="0" err="1"/>
              <a:t>Mathematical</a:t>
            </a:r>
            <a:r>
              <a:rPr lang="fr-FR" dirty="0"/>
              <a:t> </a:t>
            </a:r>
            <a:r>
              <a:rPr lang="fr-FR" dirty="0" err="1"/>
              <a:t>Statistics</a:t>
            </a:r>
            <a:r>
              <a:rPr lang="fr-FR" dirty="0"/>
              <a:t> 1964)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 err="1"/>
              <a:t>Szegedy</a:t>
            </a:r>
            <a:r>
              <a:rPr lang="fr-FR" dirty="0"/>
              <a:t>, C., </a:t>
            </a:r>
            <a:r>
              <a:rPr lang="fr-FR" dirty="0" err="1"/>
              <a:t>Zaremba</a:t>
            </a:r>
            <a:r>
              <a:rPr lang="fr-FR" dirty="0"/>
              <a:t>, W., </a:t>
            </a:r>
            <a:r>
              <a:rPr lang="fr-FR" dirty="0" err="1"/>
              <a:t>Sutskever</a:t>
            </a:r>
            <a:r>
              <a:rPr lang="fr-FR" dirty="0"/>
              <a:t>, I., </a:t>
            </a:r>
            <a:r>
              <a:rPr lang="fr-FR" dirty="0" err="1"/>
              <a:t>Bruna</a:t>
            </a:r>
            <a:r>
              <a:rPr lang="fr-FR" dirty="0"/>
              <a:t>, J., </a:t>
            </a:r>
            <a:r>
              <a:rPr lang="fr-FR" dirty="0" err="1"/>
              <a:t>Erhan</a:t>
            </a:r>
            <a:r>
              <a:rPr lang="fr-FR" dirty="0"/>
              <a:t>, D., </a:t>
            </a:r>
            <a:r>
              <a:rPr lang="fr-FR" dirty="0" err="1"/>
              <a:t>Goodfellow</a:t>
            </a:r>
            <a:r>
              <a:rPr lang="fr-FR" dirty="0"/>
              <a:t>, I., and </a:t>
            </a:r>
            <a:r>
              <a:rPr lang="fr-FR" dirty="0" err="1"/>
              <a:t>Fergus</a:t>
            </a:r>
            <a:r>
              <a:rPr lang="fr-FR" dirty="0"/>
              <a:t>, R. </a:t>
            </a:r>
            <a:r>
              <a:rPr lang="fr-FR" dirty="0" err="1"/>
              <a:t>Intriguing</a:t>
            </a:r>
            <a:r>
              <a:rPr lang="fr-FR" dirty="0"/>
              <a:t> </a:t>
            </a:r>
            <a:r>
              <a:rPr lang="fr-FR" dirty="0" err="1"/>
              <a:t>properties</a:t>
            </a:r>
            <a:r>
              <a:rPr lang="fr-FR" dirty="0"/>
              <a:t> of neural networks (2013)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 err="1"/>
              <a:t>Goodfellow</a:t>
            </a:r>
            <a:r>
              <a:rPr lang="fr-FR" dirty="0"/>
              <a:t>, I. J., </a:t>
            </a:r>
            <a:r>
              <a:rPr lang="fr-FR" dirty="0" err="1"/>
              <a:t>Shlens</a:t>
            </a:r>
            <a:r>
              <a:rPr lang="fr-FR" dirty="0"/>
              <a:t>, J., and </a:t>
            </a:r>
            <a:r>
              <a:rPr lang="fr-FR" dirty="0" err="1"/>
              <a:t>Szegedy</a:t>
            </a:r>
            <a:r>
              <a:rPr lang="fr-FR" dirty="0"/>
              <a:t>, C. </a:t>
            </a:r>
            <a:r>
              <a:rPr lang="fr-FR" dirty="0" err="1"/>
              <a:t>Explaining</a:t>
            </a:r>
            <a:r>
              <a:rPr lang="fr-FR" dirty="0"/>
              <a:t> and </a:t>
            </a:r>
            <a:r>
              <a:rPr lang="fr-FR" dirty="0" err="1"/>
              <a:t>harnessing</a:t>
            </a:r>
            <a:r>
              <a:rPr lang="fr-FR" dirty="0"/>
              <a:t>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examples</a:t>
            </a:r>
            <a:r>
              <a:rPr lang="fr-FR" dirty="0"/>
              <a:t>. (ICLR 2015)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 err="1"/>
              <a:t>Madry</a:t>
            </a:r>
            <a:r>
              <a:rPr lang="fr-FR" dirty="0"/>
              <a:t>, A., </a:t>
            </a:r>
            <a:r>
              <a:rPr lang="fr-FR" dirty="0" err="1"/>
              <a:t>Makelov</a:t>
            </a:r>
            <a:r>
              <a:rPr lang="fr-FR" dirty="0"/>
              <a:t>, A., Schmidt, L., </a:t>
            </a:r>
            <a:r>
              <a:rPr lang="fr-FR" dirty="0" err="1"/>
              <a:t>Tsipras</a:t>
            </a:r>
            <a:r>
              <a:rPr lang="fr-FR" dirty="0"/>
              <a:t>, D., and </a:t>
            </a:r>
            <a:r>
              <a:rPr lang="fr-FR" dirty="0" err="1"/>
              <a:t>Vladu</a:t>
            </a:r>
            <a:r>
              <a:rPr lang="fr-FR" dirty="0"/>
              <a:t>, A. </a:t>
            </a:r>
            <a:r>
              <a:rPr lang="fr-FR" dirty="0" err="1"/>
              <a:t>Towards</a:t>
            </a:r>
            <a:r>
              <a:rPr lang="fr-FR" dirty="0"/>
              <a:t> </a:t>
            </a:r>
            <a:r>
              <a:rPr lang="fr-FR" dirty="0" err="1"/>
              <a:t>deep</a:t>
            </a:r>
            <a:r>
              <a:rPr lang="fr-FR" dirty="0"/>
              <a:t> </a:t>
            </a:r>
            <a:r>
              <a:rPr lang="fr-FR" dirty="0" err="1"/>
              <a:t>learning</a:t>
            </a:r>
            <a:r>
              <a:rPr lang="fr-FR" dirty="0"/>
              <a:t> </a:t>
            </a:r>
            <a:r>
              <a:rPr lang="fr-FR" dirty="0" err="1"/>
              <a:t>models</a:t>
            </a:r>
            <a:r>
              <a:rPr lang="fr-FR" dirty="0"/>
              <a:t> </a:t>
            </a:r>
            <a:r>
              <a:rPr lang="fr-FR" dirty="0" err="1"/>
              <a:t>resistant</a:t>
            </a:r>
            <a:r>
              <a:rPr lang="fr-FR" dirty="0"/>
              <a:t> to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attacks</a:t>
            </a:r>
            <a:r>
              <a:rPr lang="fr-FR" dirty="0"/>
              <a:t>. (ICLR 2018)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/>
              <a:t>Lee, K., Lee, K., Lee, H., and Shin, J. A simple </a:t>
            </a:r>
            <a:r>
              <a:rPr lang="fr-FR" dirty="0" err="1"/>
              <a:t>unified</a:t>
            </a:r>
            <a:r>
              <a:rPr lang="fr-FR" dirty="0"/>
              <a:t> </a:t>
            </a:r>
            <a:r>
              <a:rPr lang="fr-FR" dirty="0" err="1"/>
              <a:t>framework</a:t>
            </a:r>
            <a:r>
              <a:rPr lang="fr-FR" dirty="0"/>
              <a:t> for </a:t>
            </a:r>
            <a:r>
              <a:rPr lang="fr-FR" dirty="0" err="1"/>
              <a:t>detecting</a:t>
            </a:r>
            <a:r>
              <a:rPr lang="fr-FR" dirty="0"/>
              <a:t> out-of-distribution </a:t>
            </a:r>
            <a:r>
              <a:rPr lang="fr-FR" dirty="0" err="1"/>
              <a:t>samples</a:t>
            </a:r>
            <a:r>
              <a:rPr lang="fr-FR" dirty="0"/>
              <a:t> and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attacks</a:t>
            </a:r>
            <a:r>
              <a:rPr lang="fr-FR" dirty="0"/>
              <a:t>. (</a:t>
            </a:r>
            <a:r>
              <a:rPr lang="fr-FR" dirty="0" err="1"/>
              <a:t>NeurIPS</a:t>
            </a:r>
            <a:r>
              <a:rPr lang="fr-FR" dirty="0"/>
              <a:t> 2018)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 err="1"/>
              <a:t>Moosavi-Dezfooli</a:t>
            </a:r>
            <a:r>
              <a:rPr lang="fr-FR" dirty="0"/>
              <a:t>, S., </a:t>
            </a:r>
            <a:r>
              <a:rPr lang="fr-FR" dirty="0" err="1"/>
              <a:t>Fawzi</a:t>
            </a:r>
            <a:r>
              <a:rPr lang="fr-FR" dirty="0"/>
              <a:t>, A., </a:t>
            </a:r>
            <a:r>
              <a:rPr lang="fr-FR" dirty="0" err="1"/>
              <a:t>Fawzi</a:t>
            </a:r>
            <a:r>
              <a:rPr lang="fr-FR" dirty="0"/>
              <a:t>, O., and Frossard, P. Universal </a:t>
            </a:r>
            <a:r>
              <a:rPr lang="fr-FR" dirty="0" err="1"/>
              <a:t>adversarial</a:t>
            </a:r>
            <a:r>
              <a:rPr lang="fr-FR" dirty="0"/>
              <a:t> perturbations (CVPR 2017) </a:t>
            </a:r>
          </a:p>
          <a:p>
            <a:pPr marL="285750" indent="-285750">
              <a:lnSpc>
                <a:spcPct val="100000"/>
              </a:lnSpc>
              <a:buFontTx/>
              <a:buChar char="-"/>
            </a:pPr>
            <a:r>
              <a:rPr lang="fr-FR" dirty="0" err="1"/>
              <a:t>Moosavi-Dezfooli</a:t>
            </a:r>
            <a:r>
              <a:rPr lang="fr-FR" dirty="0"/>
              <a:t>, S.-M., </a:t>
            </a:r>
            <a:r>
              <a:rPr lang="fr-FR" dirty="0" err="1"/>
              <a:t>Fawzi</a:t>
            </a:r>
            <a:r>
              <a:rPr lang="fr-FR" dirty="0"/>
              <a:t>, A., </a:t>
            </a:r>
            <a:r>
              <a:rPr lang="fr-FR" dirty="0" err="1"/>
              <a:t>Uesato</a:t>
            </a:r>
            <a:r>
              <a:rPr lang="fr-FR" dirty="0"/>
              <a:t>, J., and Frossard, P. </a:t>
            </a:r>
            <a:r>
              <a:rPr lang="fr-FR" dirty="0" err="1"/>
              <a:t>Robustness</a:t>
            </a:r>
            <a:r>
              <a:rPr lang="fr-FR" dirty="0"/>
              <a:t> via </a:t>
            </a:r>
            <a:r>
              <a:rPr lang="fr-FR" dirty="0" err="1"/>
              <a:t>curvature</a:t>
            </a:r>
            <a:r>
              <a:rPr lang="fr-FR" dirty="0"/>
              <a:t> </a:t>
            </a:r>
            <a:r>
              <a:rPr lang="fr-FR" dirty="0" err="1"/>
              <a:t>regularization</a:t>
            </a:r>
            <a:r>
              <a:rPr lang="fr-FR" dirty="0"/>
              <a:t>, and vice versa. (CVPR 2019)</a:t>
            </a:r>
          </a:p>
          <a:p>
            <a:pPr marL="285750" indent="-285750">
              <a:buFontTx/>
              <a:buChar char="-"/>
            </a:pPr>
            <a:r>
              <a:rPr lang="fr-FR" dirty="0"/>
              <a:t>Wang, L., Ding, G. W., Huang, R., Cao, Y., and Lui, Y. C.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robustness</a:t>
            </a:r>
            <a:r>
              <a:rPr lang="fr-FR" dirty="0"/>
              <a:t> of </a:t>
            </a:r>
            <a:r>
              <a:rPr lang="fr-FR" dirty="0" err="1"/>
              <a:t>pruned</a:t>
            </a:r>
            <a:r>
              <a:rPr lang="fr-FR" dirty="0"/>
              <a:t> neural networks. (2018)</a:t>
            </a:r>
          </a:p>
          <a:p>
            <a:pPr marL="285750" indent="-285750">
              <a:buFontTx/>
              <a:buChar char="-"/>
            </a:pPr>
            <a:r>
              <a:rPr lang="fr-FR" dirty="0"/>
              <a:t>Wang, S., Liao, N., Xiang, L., </a:t>
            </a:r>
            <a:r>
              <a:rPr lang="fr-FR" dirty="0" err="1"/>
              <a:t>Ye</a:t>
            </a:r>
            <a:r>
              <a:rPr lang="fr-FR" dirty="0"/>
              <a:t>, N., and Zhang, Q. </a:t>
            </a:r>
            <a:r>
              <a:rPr lang="fr-FR" dirty="0" err="1"/>
              <a:t>Achieving</a:t>
            </a:r>
            <a:r>
              <a:rPr lang="fr-FR" dirty="0"/>
              <a:t>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robustness</a:t>
            </a:r>
            <a:r>
              <a:rPr lang="fr-FR" dirty="0"/>
              <a:t> via </a:t>
            </a:r>
            <a:r>
              <a:rPr lang="fr-FR" dirty="0" err="1"/>
              <a:t>sparsity</a:t>
            </a:r>
            <a:r>
              <a:rPr lang="fr-FR" dirty="0"/>
              <a:t> (2020)</a:t>
            </a:r>
          </a:p>
          <a:p>
            <a:pPr marL="285750" indent="-285750">
              <a:buFontTx/>
              <a:buChar char="-"/>
            </a:pPr>
            <a:r>
              <a:rPr lang="fr-FR" dirty="0"/>
              <a:t>Meunier, L., </a:t>
            </a:r>
            <a:r>
              <a:rPr lang="fr-FR" dirty="0" err="1"/>
              <a:t>Ettedgui</a:t>
            </a:r>
            <a:r>
              <a:rPr lang="fr-FR" dirty="0"/>
              <a:t>, R., Pinot, R., </a:t>
            </a:r>
            <a:r>
              <a:rPr lang="fr-FR" dirty="0" err="1"/>
              <a:t>Chevaleyre</a:t>
            </a:r>
            <a:r>
              <a:rPr lang="fr-FR" dirty="0"/>
              <a:t>, Y., and Atif, J. </a:t>
            </a:r>
            <a:r>
              <a:rPr lang="fr-FR" dirty="0" err="1"/>
              <a:t>Towards</a:t>
            </a:r>
            <a:r>
              <a:rPr lang="fr-FR" dirty="0"/>
              <a:t> </a:t>
            </a:r>
            <a:r>
              <a:rPr lang="fr-FR" dirty="0" err="1"/>
              <a:t>consistency</a:t>
            </a:r>
            <a:r>
              <a:rPr lang="fr-FR" dirty="0"/>
              <a:t> in </a:t>
            </a:r>
            <a:r>
              <a:rPr lang="fr-FR" dirty="0" err="1"/>
              <a:t>adversarial</a:t>
            </a:r>
            <a:r>
              <a:rPr lang="fr-FR" dirty="0"/>
              <a:t> classification. (</a:t>
            </a:r>
            <a:r>
              <a:rPr lang="fr-FR" dirty="0" err="1"/>
              <a:t>NeurIPS</a:t>
            </a:r>
            <a:r>
              <a:rPr lang="fr-FR" dirty="0"/>
              <a:t> 2022) </a:t>
            </a:r>
          </a:p>
          <a:p>
            <a:endParaRPr lang="fr-FR" dirty="0"/>
          </a:p>
          <a:p>
            <a:pPr marL="285750" indent="-285750">
              <a:lnSpc>
                <a:spcPct val="100000"/>
              </a:lnSpc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fr-FR" sz="16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5734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Bibliography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9800499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FC5C2D-68EC-154E-B69B-37BE5B8D01DA}"/>
              </a:ext>
            </a:extLst>
          </p:cNvPr>
          <p:cNvSpPr txBox="1">
            <a:spLocks/>
          </p:cNvSpPr>
          <p:nvPr/>
        </p:nvSpPr>
        <p:spPr>
          <a:xfrm>
            <a:off x="464451" y="1335293"/>
            <a:ext cx="11193514" cy="48119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fr-FR" dirty="0"/>
              <a:t>Guo, M., Yang, Y., Xu, R., Liu, Z., and Lin, D. </a:t>
            </a:r>
            <a:r>
              <a:rPr lang="fr-FR" dirty="0" err="1"/>
              <a:t>When</a:t>
            </a:r>
            <a:r>
              <a:rPr lang="fr-FR" dirty="0"/>
              <a:t> </a:t>
            </a:r>
            <a:r>
              <a:rPr lang="fr-FR" dirty="0" err="1"/>
              <a:t>nas</a:t>
            </a:r>
            <a:r>
              <a:rPr lang="fr-FR" dirty="0"/>
              <a:t> </a:t>
            </a:r>
            <a:r>
              <a:rPr lang="fr-FR" dirty="0" err="1"/>
              <a:t>meets</a:t>
            </a:r>
            <a:r>
              <a:rPr lang="fr-FR" dirty="0"/>
              <a:t> </a:t>
            </a:r>
            <a:r>
              <a:rPr lang="fr-FR" dirty="0" err="1"/>
              <a:t>robustness</a:t>
            </a:r>
            <a:r>
              <a:rPr lang="fr-FR" dirty="0"/>
              <a:t>: In </a:t>
            </a:r>
            <a:r>
              <a:rPr lang="fr-FR" dirty="0" err="1"/>
              <a:t>search</a:t>
            </a:r>
            <a:r>
              <a:rPr lang="fr-FR" dirty="0"/>
              <a:t> of </a:t>
            </a:r>
            <a:r>
              <a:rPr lang="fr-FR" dirty="0" err="1"/>
              <a:t>robust</a:t>
            </a:r>
            <a:r>
              <a:rPr lang="fr-FR" dirty="0"/>
              <a:t> architectures </a:t>
            </a:r>
            <a:r>
              <a:rPr lang="fr-FR" dirty="0" err="1"/>
              <a:t>against</a:t>
            </a:r>
            <a:r>
              <a:rPr lang="fr-FR" dirty="0"/>
              <a:t>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attacks</a:t>
            </a:r>
            <a:r>
              <a:rPr lang="fr-FR" dirty="0"/>
              <a:t>. (CVPR 2020)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Nar</a:t>
            </a:r>
            <a:r>
              <a:rPr lang="fr-FR" dirty="0"/>
              <a:t>, K., </a:t>
            </a:r>
            <a:r>
              <a:rPr lang="fr-FR" dirty="0" err="1"/>
              <a:t>Ocal</a:t>
            </a:r>
            <a:r>
              <a:rPr lang="fr-FR" dirty="0"/>
              <a:t>, O., </a:t>
            </a:r>
            <a:r>
              <a:rPr lang="fr-FR" dirty="0" err="1"/>
              <a:t>Sastry</a:t>
            </a:r>
            <a:r>
              <a:rPr lang="fr-FR" dirty="0"/>
              <a:t>, S. S., and </a:t>
            </a:r>
            <a:r>
              <a:rPr lang="fr-FR" dirty="0" err="1"/>
              <a:t>Ramchandran</a:t>
            </a:r>
            <a:r>
              <a:rPr lang="fr-FR" dirty="0"/>
              <a:t>, K. Cross-</a:t>
            </a:r>
            <a:r>
              <a:rPr lang="fr-FR" dirty="0" err="1"/>
              <a:t>entropy</a:t>
            </a:r>
            <a:r>
              <a:rPr lang="fr-FR" dirty="0"/>
              <a:t> </a:t>
            </a:r>
            <a:r>
              <a:rPr lang="fr-FR" dirty="0" err="1"/>
              <a:t>loss</a:t>
            </a:r>
            <a:r>
              <a:rPr lang="fr-FR" dirty="0"/>
              <a:t> and </a:t>
            </a:r>
            <a:r>
              <a:rPr lang="fr-FR" dirty="0" err="1"/>
              <a:t>low-rank</a:t>
            </a:r>
            <a:r>
              <a:rPr lang="fr-FR" dirty="0"/>
              <a:t> </a:t>
            </a:r>
            <a:r>
              <a:rPr lang="fr-FR" dirty="0" err="1"/>
              <a:t>features</a:t>
            </a:r>
            <a:r>
              <a:rPr lang="fr-FR" dirty="0"/>
              <a:t> have </a:t>
            </a:r>
            <a:r>
              <a:rPr lang="fr-FR" dirty="0" err="1"/>
              <a:t>responsibility</a:t>
            </a:r>
            <a:r>
              <a:rPr lang="fr-FR" dirty="0"/>
              <a:t> for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examples</a:t>
            </a:r>
            <a:r>
              <a:rPr lang="fr-FR" dirty="0"/>
              <a:t> (2019)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Fawzi</a:t>
            </a:r>
            <a:r>
              <a:rPr lang="fr-FR" dirty="0"/>
              <a:t>, A., </a:t>
            </a:r>
            <a:r>
              <a:rPr lang="fr-FR" dirty="0" err="1"/>
              <a:t>Moosavi-Dezfooli</a:t>
            </a:r>
            <a:r>
              <a:rPr lang="fr-FR" dirty="0"/>
              <a:t>, S.-M., Frossard, P., and </a:t>
            </a:r>
            <a:r>
              <a:rPr lang="fr-FR" dirty="0" err="1"/>
              <a:t>Soatto</a:t>
            </a:r>
            <a:r>
              <a:rPr lang="fr-FR" dirty="0"/>
              <a:t>, S. </a:t>
            </a:r>
            <a:r>
              <a:rPr lang="fr-FR" dirty="0" err="1"/>
              <a:t>Empirical</a:t>
            </a:r>
            <a:r>
              <a:rPr lang="fr-FR" dirty="0"/>
              <a:t> </a:t>
            </a:r>
            <a:r>
              <a:rPr lang="fr-FR" dirty="0" err="1"/>
              <a:t>study</a:t>
            </a:r>
            <a:r>
              <a:rPr lang="fr-FR" dirty="0"/>
              <a:t> of the </a:t>
            </a:r>
            <a:r>
              <a:rPr lang="fr-FR" dirty="0" err="1"/>
              <a:t>topology</a:t>
            </a:r>
            <a:r>
              <a:rPr lang="fr-FR" dirty="0"/>
              <a:t> and </a:t>
            </a:r>
            <a:r>
              <a:rPr lang="fr-FR" dirty="0" err="1"/>
              <a:t>geometry</a:t>
            </a:r>
            <a:r>
              <a:rPr lang="fr-FR" dirty="0"/>
              <a:t> of </a:t>
            </a:r>
            <a:r>
              <a:rPr lang="fr-FR" dirty="0" err="1"/>
              <a:t>deep</a:t>
            </a:r>
            <a:r>
              <a:rPr lang="fr-FR" dirty="0"/>
              <a:t> networks. (CVPR 2018)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Aigrain</a:t>
            </a:r>
            <a:r>
              <a:rPr lang="fr-FR" dirty="0"/>
              <a:t>, J. and </a:t>
            </a:r>
            <a:r>
              <a:rPr lang="fr-FR" dirty="0" err="1"/>
              <a:t>Detyniecki</a:t>
            </a:r>
            <a:r>
              <a:rPr lang="fr-FR" dirty="0"/>
              <a:t>, M. </a:t>
            </a:r>
            <a:r>
              <a:rPr lang="fr-FR" dirty="0" err="1"/>
              <a:t>Detecting</a:t>
            </a:r>
            <a:r>
              <a:rPr lang="fr-FR" dirty="0"/>
              <a:t>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examples</a:t>
            </a:r>
            <a:r>
              <a:rPr lang="fr-FR" dirty="0"/>
              <a:t> and </a:t>
            </a:r>
            <a:r>
              <a:rPr lang="fr-FR" dirty="0" err="1"/>
              <a:t>other</a:t>
            </a:r>
            <a:r>
              <a:rPr lang="fr-FR" dirty="0"/>
              <a:t> </a:t>
            </a:r>
            <a:r>
              <a:rPr lang="fr-FR" dirty="0" err="1"/>
              <a:t>misclassifications</a:t>
            </a:r>
            <a:r>
              <a:rPr lang="fr-FR" dirty="0"/>
              <a:t> in neural networks by introspection. (ICML 2019)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Cantareira</a:t>
            </a:r>
            <a:r>
              <a:rPr lang="fr-FR" dirty="0"/>
              <a:t>, G. D., </a:t>
            </a:r>
            <a:r>
              <a:rPr lang="fr-FR" dirty="0" err="1"/>
              <a:t>Mello</a:t>
            </a:r>
            <a:r>
              <a:rPr lang="fr-FR" dirty="0"/>
              <a:t>, R. F., and </a:t>
            </a:r>
            <a:r>
              <a:rPr lang="fr-FR" dirty="0" err="1"/>
              <a:t>Paulovich</a:t>
            </a:r>
            <a:r>
              <a:rPr lang="fr-FR" dirty="0"/>
              <a:t>, F. V. </a:t>
            </a:r>
            <a:r>
              <a:rPr lang="fr-FR" dirty="0" err="1"/>
              <a:t>Explainable</a:t>
            </a:r>
            <a:r>
              <a:rPr lang="fr-FR" dirty="0"/>
              <a:t>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attacks</a:t>
            </a:r>
            <a:r>
              <a:rPr lang="fr-FR" dirty="0"/>
              <a:t> in </a:t>
            </a:r>
            <a:r>
              <a:rPr lang="fr-FR" dirty="0" err="1"/>
              <a:t>deep</a:t>
            </a:r>
            <a:r>
              <a:rPr lang="fr-FR" dirty="0"/>
              <a:t> neural networks </a:t>
            </a:r>
            <a:r>
              <a:rPr lang="fr-FR" dirty="0" err="1"/>
              <a:t>using</a:t>
            </a:r>
            <a:r>
              <a:rPr lang="fr-FR" dirty="0"/>
              <a:t> activation profiles. (2021)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Agarwal</a:t>
            </a:r>
            <a:r>
              <a:rPr lang="fr-FR" dirty="0"/>
              <a:t>, C., Nguyen, A., and </a:t>
            </a:r>
            <a:r>
              <a:rPr lang="fr-FR" dirty="0" err="1"/>
              <a:t>Schonfeld</a:t>
            </a:r>
            <a:r>
              <a:rPr lang="fr-FR" dirty="0"/>
              <a:t>, D. </a:t>
            </a:r>
            <a:r>
              <a:rPr lang="fr-FR" dirty="0" err="1"/>
              <a:t>Improving</a:t>
            </a:r>
            <a:r>
              <a:rPr lang="fr-FR" dirty="0"/>
              <a:t> </a:t>
            </a:r>
            <a:r>
              <a:rPr lang="fr-FR" dirty="0" err="1"/>
              <a:t>robustness</a:t>
            </a:r>
            <a:r>
              <a:rPr lang="fr-FR" dirty="0"/>
              <a:t> to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examples</a:t>
            </a:r>
            <a:r>
              <a:rPr lang="fr-FR" dirty="0"/>
              <a:t> by </a:t>
            </a:r>
            <a:r>
              <a:rPr lang="fr-FR" dirty="0" err="1"/>
              <a:t>encouraging</a:t>
            </a:r>
            <a:r>
              <a:rPr lang="fr-FR" dirty="0"/>
              <a:t> discriminative </a:t>
            </a:r>
            <a:r>
              <a:rPr lang="fr-FR" dirty="0" err="1"/>
              <a:t>features</a:t>
            </a:r>
            <a:r>
              <a:rPr lang="fr-FR" dirty="0"/>
              <a:t>. (ICIP 2019) 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Ilyas</a:t>
            </a:r>
            <a:r>
              <a:rPr lang="fr-FR" dirty="0"/>
              <a:t>, A., </a:t>
            </a:r>
            <a:r>
              <a:rPr lang="fr-FR" dirty="0" err="1"/>
              <a:t>Santurkar</a:t>
            </a:r>
            <a:r>
              <a:rPr lang="fr-FR" dirty="0"/>
              <a:t>, S., </a:t>
            </a:r>
            <a:r>
              <a:rPr lang="fr-FR" dirty="0" err="1"/>
              <a:t>Tsipras</a:t>
            </a:r>
            <a:r>
              <a:rPr lang="fr-FR" dirty="0"/>
              <a:t>, D., </a:t>
            </a:r>
            <a:r>
              <a:rPr lang="fr-FR" dirty="0" err="1"/>
              <a:t>Engstrom</a:t>
            </a:r>
            <a:r>
              <a:rPr lang="fr-FR" dirty="0"/>
              <a:t>, L., </a:t>
            </a:r>
            <a:r>
              <a:rPr lang="fr-FR" dirty="0" err="1"/>
              <a:t>Tran</a:t>
            </a:r>
            <a:r>
              <a:rPr lang="fr-FR" dirty="0"/>
              <a:t>, B., and </a:t>
            </a:r>
            <a:r>
              <a:rPr lang="fr-FR" dirty="0" err="1"/>
              <a:t>Madry</a:t>
            </a:r>
            <a:r>
              <a:rPr lang="fr-FR" dirty="0"/>
              <a:t>, A.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examples</a:t>
            </a:r>
            <a:r>
              <a:rPr lang="fr-FR" dirty="0"/>
              <a:t> are not bugs, </a:t>
            </a:r>
            <a:r>
              <a:rPr lang="fr-FR" dirty="0" err="1"/>
              <a:t>they</a:t>
            </a:r>
            <a:r>
              <a:rPr lang="fr-FR" dirty="0"/>
              <a:t> are </a:t>
            </a:r>
            <a:r>
              <a:rPr lang="fr-FR" dirty="0" err="1"/>
              <a:t>features</a:t>
            </a:r>
            <a:r>
              <a:rPr lang="fr-FR" dirty="0"/>
              <a:t>. (</a:t>
            </a:r>
            <a:r>
              <a:rPr lang="fr-FR" dirty="0" err="1"/>
              <a:t>NeurIPS</a:t>
            </a:r>
            <a:r>
              <a:rPr lang="fr-FR" dirty="0"/>
              <a:t> 2019) </a:t>
            </a:r>
          </a:p>
          <a:p>
            <a:pPr marL="285750" indent="-285750">
              <a:buFontTx/>
              <a:buChar char="-"/>
            </a:pPr>
            <a:r>
              <a:rPr lang="fr-FR" dirty="0"/>
              <a:t>Ma, X., Li, B., Wang, Y., </a:t>
            </a:r>
            <a:r>
              <a:rPr lang="fr-FR" dirty="0" err="1"/>
              <a:t>Erfani</a:t>
            </a:r>
            <a:r>
              <a:rPr lang="fr-FR" dirty="0"/>
              <a:t>, S. M., </a:t>
            </a:r>
            <a:r>
              <a:rPr lang="fr-FR" dirty="0" err="1"/>
              <a:t>Wijewickrema</a:t>
            </a:r>
            <a:r>
              <a:rPr lang="fr-FR" dirty="0"/>
              <a:t>, S., </a:t>
            </a:r>
            <a:r>
              <a:rPr lang="fr-FR" dirty="0" err="1"/>
              <a:t>Schoenebeck</a:t>
            </a:r>
            <a:r>
              <a:rPr lang="fr-FR" dirty="0"/>
              <a:t>, G., Song, D., Houle, M. E., and Bailey, J. </a:t>
            </a:r>
            <a:r>
              <a:rPr lang="fr-FR" dirty="0" err="1"/>
              <a:t>Characterizing</a:t>
            </a:r>
            <a:r>
              <a:rPr lang="fr-FR" dirty="0"/>
              <a:t>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subspaces</a:t>
            </a:r>
            <a:r>
              <a:rPr lang="fr-FR" dirty="0"/>
              <a:t> </a:t>
            </a:r>
            <a:r>
              <a:rPr lang="fr-FR" dirty="0" err="1"/>
              <a:t>using</a:t>
            </a:r>
            <a:r>
              <a:rPr lang="fr-FR" dirty="0"/>
              <a:t> local </a:t>
            </a:r>
            <a:r>
              <a:rPr lang="fr-FR" dirty="0" err="1"/>
              <a:t>intrinsic</a:t>
            </a:r>
            <a:r>
              <a:rPr lang="fr-FR" dirty="0"/>
              <a:t> </a:t>
            </a:r>
            <a:r>
              <a:rPr lang="fr-FR" dirty="0" err="1"/>
              <a:t>dimensionality</a:t>
            </a:r>
            <a:r>
              <a:rPr lang="fr-FR" dirty="0"/>
              <a:t>. (ICLR 2018) 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Dohmatob</a:t>
            </a:r>
            <a:r>
              <a:rPr lang="fr-FR" dirty="0"/>
              <a:t>, E. </a:t>
            </a:r>
            <a:r>
              <a:rPr lang="fr-FR" dirty="0" err="1"/>
              <a:t>Generalized</a:t>
            </a:r>
            <a:r>
              <a:rPr lang="fr-FR" dirty="0"/>
              <a:t> no free lunch </a:t>
            </a:r>
            <a:r>
              <a:rPr lang="fr-FR" dirty="0" err="1"/>
              <a:t>theorem</a:t>
            </a:r>
            <a:r>
              <a:rPr lang="fr-FR" dirty="0"/>
              <a:t> for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robustness</a:t>
            </a:r>
            <a:r>
              <a:rPr lang="fr-FR" dirty="0"/>
              <a:t>. (ICML 2019)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Carriere</a:t>
            </a:r>
            <a:r>
              <a:rPr lang="fr-FR" dirty="0"/>
              <a:t>, M., </a:t>
            </a:r>
            <a:r>
              <a:rPr lang="fr-FR" dirty="0" err="1"/>
              <a:t>Cuturi</a:t>
            </a:r>
            <a:r>
              <a:rPr lang="fr-FR" dirty="0"/>
              <a:t>, M., and </a:t>
            </a:r>
            <a:r>
              <a:rPr lang="fr-FR" dirty="0" err="1"/>
              <a:t>Oudot</a:t>
            </a:r>
            <a:r>
              <a:rPr lang="fr-FR" dirty="0"/>
              <a:t>, S. </a:t>
            </a:r>
            <a:r>
              <a:rPr lang="fr-FR" dirty="0" err="1"/>
              <a:t>Sliced</a:t>
            </a:r>
            <a:r>
              <a:rPr lang="fr-FR" dirty="0"/>
              <a:t> </a:t>
            </a:r>
            <a:r>
              <a:rPr lang="fr-FR" dirty="0" err="1"/>
              <a:t>wasserstein</a:t>
            </a:r>
            <a:r>
              <a:rPr lang="fr-FR" dirty="0"/>
              <a:t> </a:t>
            </a:r>
            <a:r>
              <a:rPr lang="fr-FR" dirty="0" err="1"/>
              <a:t>kernel</a:t>
            </a:r>
            <a:r>
              <a:rPr lang="fr-FR" dirty="0"/>
              <a:t> for </a:t>
            </a:r>
            <a:r>
              <a:rPr lang="fr-FR" dirty="0" err="1"/>
              <a:t>persistence</a:t>
            </a:r>
            <a:r>
              <a:rPr lang="fr-FR" dirty="0"/>
              <a:t> </a:t>
            </a:r>
            <a:r>
              <a:rPr lang="fr-FR" dirty="0" err="1"/>
              <a:t>diagrams</a:t>
            </a:r>
            <a:r>
              <a:rPr lang="fr-FR" dirty="0"/>
              <a:t>. (ICML 2017)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Stutz</a:t>
            </a:r>
            <a:r>
              <a:rPr lang="fr-FR" dirty="0"/>
              <a:t>, D., Hein, M., and Schiele, B. </a:t>
            </a:r>
            <a:r>
              <a:rPr lang="fr-FR" dirty="0" err="1"/>
              <a:t>Disentangling</a:t>
            </a:r>
            <a:r>
              <a:rPr lang="fr-FR" dirty="0"/>
              <a:t> </a:t>
            </a:r>
            <a:r>
              <a:rPr lang="fr-FR" dirty="0" err="1"/>
              <a:t>adversarial</a:t>
            </a:r>
            <a:r>
              <a:rPr lang="fr-FR" dirty="0"/>
              <a:t> </a:t>
            </a:r>
            <a:r>
              <a:rPr lang="fr-FR" dirty="0" err="1"/>
              <a:t>robustness</a:t>
            </a:r>
            <a:r>
              <a:rPr lang="fr-FR" dirty="0"/>
              <a:t> and </a:t>
            </a:r>
            <a:r>
              <a:rPr lang="fr-FR" dirty="0" err="1"/>
              <a:t>generalization</a:t>
            </a:r>
            <a:r>
              <a:rPr lang="fr-FR" dirty="0"/>
              <a:t>. (CVPR 2019)</a:t>
            </a:r>
          </a:p>
          <a:p>
            <a:pPr marL="285750" indent="-285750">
              <a:buFontTx/>
              <a:buChar char="-"/>
            </a:pPr>
            <a:r>
              <a:rPr lang="fr-FR" dirty="0" err="1"/>
              <a:t>Frankle</a:t>
            </a:r>
            <a:r>
              <a:rPr lang="fr-FR" dirty="0"/>
              <a:t>, J. and </a:t>
            </a:r>
            <a:r>
              <a:rPr lang="fr-FR" dirty="0" err="1"/>
              <a:t>Carbin</a:t>
            </a:r>
            <a:r>
              <a:rPr lang="fr-FR" dirty="0"/>
              <a:t>, M. The </a:t>
            </a:r>
            <a:r>
              <a:rPr lang="fr-FR" dirty="0" err="1"/>
              <a:t>lottery</a:t>
            </a:r>
            <a:r>
              <a:rPr lang="fr-FR" dirty="0"/>
              <a:t> ticket </a:t>
            </a:r>
            <a:r>
              <a:rPr lang="fr-FR" dirty="0" err="1"/>
              <a:t>hypothesis</a:t>
            </a:r>
            <a:r>
              <a:rPr lang="fr-FR" dirty="0"/>
              <a:t>: </a:t>
            </a:r>
            <a:r>
              <a:rPr lang="fr-FR" dirty="0" err="1"/>
              <a:t>Finding</a:t>
            </a:r>
            <a:r>
              <a:rPr lang="fr-FR" dirty="0"/>
              <a:t> </a:t>
            </a:r>
            <a:r>
              <a:rPr lang="fr-FR" dirty="0" err="1"/>
              <a:t>sparse</a:t>
            </a:r>
            <a:r>
              <a:rPr lang="fr-FR" dirty="0"/>
              <a:t>, </a:t>
            </a:r>
            <a:r>
              <a:rPr lang="fr-FR" dirty="0" err="1"/>
              <a:t>trainable</a:t>
            </a:r>
            <a:r>
              <a:rPr lang="fr-FR" dirty="0"/>
              <a:t> neural networks. (ICLR 2019) </a:t>
            </a:r>
          </a:p>
          <a:p>
            <a:pPr marL="285750" indent="-285750">
              <a:buFontTx/>
              <a:buChar char="-"/>
            </a:pPr>
            <a:r>
              <a:rPr lang="fr-FR" dirty="0"/>
              <a:t>Zhou, H., Lan, J., Liu, R., and </a:t>
            </a:r>
            <a:r>
              <a:rPr lang="fr-FR" dirty="0" err="1"/>
              <a:t>Yosinski</a:t>
            </a:r>
            <a:r>
              <a:rPr lang="fr-FR" dirty="0"/>
              <a:t>, J. </a:t>
            </a:r>
            <a:r>
              <a:rPr lang="fr-FR" dirty="0" err="1"/>
              <a:t>Deconstructing</a:t>
            </a:r>
            <a:r>
              <a:rPr lang="fr-FR" dirty="0"/>
              <a:t> </a:t>
            </a:r>
            <a:r>
              <a:rPr lang="fr-FR" dirty="0" err="1"/>
              <a:t>lottery</a:t>
            </a:r>
            <a:r>
              <a:rPr lang="fr-FR" dirty="0"/>
              <a:t> tickets: </a:t>
            </a:r>
            <a:r>
              <a:rPr lang="fr-FR" dirty="0" err="1"/>
              <a:t>Zeros</a:t>
            </a:r>
            <a:r>
              <a:rPr lang="fr-FR" dirty="0"/>
              <a:t>, </a:t>
            </a:r>
            <a:r>
              <a:rPr lang="fr-FR" dirty="0" err="1"/>
              <a:t>signs</a:t>
            </a:r>
            <a:r>
              <a:rPr lang="fr-FR" dirty="0"/>
              <a:t>, and the </a:t>
            </a:r>
            <a:r>
              <a:rPr lang="fr-FR" dirty="0" err="1"/>
              <a:t>supermask</a:t>
            </a:r>
            <a:r>
              <a:rPr lang="fr-FR" dirty="0"/>
              <a:t>. (</a:t>
            </a:r>
            <a:r>
              <a:rPr lang="fr-FR" dirty="0" err="1"/>
              <a:t>NeurIPS</a:t>
            </a:r>
            <a:r>
              <a:rPr lang="fr-FR" dirty="0"/>
              <a:t> 2019) </a:t>
            </a:r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fr-FR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fr-FR" sz="16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6560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Relevant Publications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9800499" cy="31684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2FC5C2D-68EC-154E-B69B-37BE5B8D01DA}"/>
              </a:ext>
            </a:extLst>
          </p:cNvPr>
          <p:cNvSpPr txBox="1">
            <a:spLocks/>
          </p:cNvSpPr>
          <p:nvPr/>
        </p:nvSpPr>
        <p:spPr>
          <a:xfrm>
            <a:off x="464451" y="1649197"/>
            <a:ext cx="10208028" cy="48119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2400"/>
              </a:spcBef>
              <a:buFontTx/>
              <a:buChar char="-"/>
            </a:pPr>
            <a:r>
              <a:rPr lang="fr-FR" sz="1600" dirty="0"/>
              <a:t>Morgane </a:t>
            </a:r>
            <a:r>
              <a:rPr lang="fr-FR" sz="1600" dirty="0" err="1"/>
              <a:t>Goibert</a:t>
            </a:r>
            <a:r>
              <a:rPr lang="fr-FR" sz="1600" dirty="0"/>
              <a:t>, Stéphan </a:t>
            </a:r>
            <a:r>
              <a:rPr lang="fr-FR" sz="1600" dirty="0" err="1"/>
              <a:t>Clémençon</a:t>
            </a:r>
            <a:r>
              <a:rPr lang="fr-FR" sz="1600" dirty="0"/>
              <a:t>, </a:t>
            </a:r>
            <a:r>
              <a:rPr lang="fr-FR" sz="1600" dirty="0" err="1"/>
              <a:t>Ekhine</a:t>
            </a:r>
            <a:r>
              <a:rPr lang="fr-FR" sz="1600" dirty="0"/>
              <a:t> </a:t>
            </a:r>
            <a:r>
              <a:rPr lang="fr-FR" sz="1600" dirty="0" err="1"/>
              <a:t>Irurozki</a:t>
            </a:r>
            <a:r>
              <a:rPr lang="fr-FR" sz="1600" dirty="0"/>
              <a:t>, </a:t>
            </a:r>
            <a:r>
              <a:rPr lang="fr-FR" sz="1600" dirty="0" err="1"/>
              <a:t>Pavlo</a:t>
            </a:r>
            <a:r>
              <a:rPr lang="fr-FR" sz="1600" dirty="0"/>
              <a:t> </a:t>
            </a:r>
            <a:r>
              <a:rPr lang="fr-FR" sz="1600" dirty="0" err="1"/>
              <a:t>Mozharovskyi</a:t>
            </a:r>
            <a:r>
              <a:rPr lang="fr-FR" sz="1600" dirty="0"/>
              <a:t>. A </a:t>
            </a:r>
            <a:r>
              <a:rPr lang="fr-FR" sz="1600" dirty="0" err="1"/>
              <a:t>Statistical</a:t>
            </a:r>
            <a:r>
              <a:rPr lang="fr-FR" sz="1600" dirty="0"/>
              <a:t> </a:t>
            </a:r>
            <a:r>
              <a:rPr lang="fr-FR" sz="1600" dirty="0" err="1"/>
              <a:t>Depth</a:t>
            </a:r>
            <a:r>
              <a:rPr lang="fr-FR" sz="1600" dirty="0"/>
              <a:t> </a:t>
            </a:r>
            <a:r>
              <a:rPr lang="fr-FR" sz="1600" dirty="0" err="1"/>
              <a:t>Functions</a:t>
            </a:r>
            <a:r>
              <a:rPr lang="fr-FR" sz="1600" dirty="0"/>
              <a:t> for </a:t>
            </a:r>
            <a:r>
              <a:rPr lang="fr-FR" sz="1600" dirty="0" err="1"/>
              <a:t>Ranking</a:t>
            </a:r>
            <a:r>
              <a:rPr lang="fr-FR" sz="1600" dirty="0"/>
              <a:t> Distributions: </a:t>
            </a:r>
            <a:r>
              <a:rPr lang="fr-FR" sz="1600" dirty="0" err="1"/>
              <a:t>Definitions</a:t>
            </a:r>
            <a:r>
              <a:rPr lang="fr-FR" sz="1600" dirty="0"/>
              <a:t>, </a:t>
            </a:r>
            <a:r>
              <a:rPr lang="fr-FR" sz="1600" dirty="0" err="1"/>
              <a:t>Statistical</a:t>
            </a:r>
            <a:r>
              <a:rPr lang="fr-FR" sz="1600" dirty="0"/>
              <a:t> Learning and Applications. (AISTATS 2022) </a:t>
            </a:r>
          </a:p>
          <a:p>
            <a:pPr marL="285750" indent="-285750">
              <a:spcBef>
                <a:spcPts val="2400"/>
              </a:spcBef>
              <a:buFontTx/>
              <a:buChar char="-"/>
            </a:pPr>
            <a:r>
              <a:rPr lang="fr-FR" sz="1600" dirty="0"/>
              <a:t>Morgane </a:t>
            </a:r>
            <a:r>
              <a:rPr lang="fr-FR" sz="1600" dirty="0" err="1"/>
              <a:t>Goibert</a:t>
            </a:r>
            <a:r>
              <a:rPr lang="fr-FR" sz="1600" dirty="0"/>
              <a:t>, Clément </a:t>
            </a:r>
            <a:r>
              <a:rPr lang="fr-FR" sz="1600" dirty="0" err="1"/>
              <a:t>Calauzènes</a:t>
            </a:r>
            <a:r>
              <a:rPr lang="fr-FR" sz="1600" dirty="0"/>
              <a:t>, </a:t>
            </a:r>
            <a:r>
              <a:rPr lang="fr-FR" sz="1600" dirty="0" err="1"/>
              <a:t>Ekhine</a:t>
            </a:r>
            <a:r>
              <a:rPr lang="fr-FR" sz="1600" dirty="0"/>
              <a:t> </a:t>
            </a:r>
            <a:r>
              <a:rPr lang="fr-FR" sz="1600" dirty="0" err="1"/>
              <a:t>Irurozki</a:t>
            </a:r>
            <a:r>
              <a:rPr lang="fr-FR" sz="1600" dirty="0"/>
              <a:t>, Stéphan </a:t>
            </a:r>
            <a:r>
              <a:rPr lang="fr-FR" sz="1600" dirty="0" err="1"/>
              <a:t>Clémençon</a:t>
            </a:r>
            <a:r>
              <a:rPr lang="fr-FR" sz="1600" dirty="0"/>
              <a:t>. </a:t>
            </a:r>
            <a:r>
              <a:rPr lang="fr-FR" sz="1600" dirty="0" err="1"/>
              <a:t>Robust</a:t>
            </a:r>
            <a:r>
              <a:rPr lang="fr-FR" sz="1600" dirty="0"/>
              <a:t> Consensus in </a:t>
            </a:r>
            <a:r>
              <a:rPr lang="fr-FR" sz="1600" dirty="0" err="1"/>
              <a:t>Ranking</a:t>
            </a:r>
            <a:r>
              <a:rPr lang="fr-FR" sz="1600" dirty="0"/>
              <a:t> Data </a:t>
            </a:r>
            <a:r>
              <a:rPr lang="fr-FR" sz="1600" dirty="0" err="1"/>
              <a:t>Analysis</a:t>
            </a:r>
            <a:r>
              <a:rPr lang="fr-FR" sz="1600" dirty="0"/>
              <a:t>: </a:t>
            </a:r>
            <a:r>
              <a:rPr lang="fr-FR" sz="1600" dirty="0" err="1"/>
              <a:t>Definitions</a:t>
            </a:r>
            <a:r>
              <a:rPr lang="fr-FR" sz="1600" dirty="0"/>
              <a:t>, </a:t>
            </a:r>
            <a:r>
              <a:rPr lang="fr-FR" sz="1600" dirty="0" err="1"/>
              <a:t>Properties</a:t>
            </a:r>
            <a:r>
              <a:rPr lang="fr-FR" sz="1600" dirty="0"/>
              <a:t> and </a:t>
            </a:r>
            <a:r>
              <a:rPr lang="fr-FR" sz="1600" dirty="0" err="1"/>
              <a:t>Computational</a:t>
            </a:r>
            <a:r>
              <a:rPr lang="fr-FR" sz="1600" dirty="0"/>
              <a:t> Issues. (ICML 2023) </a:t>
            </a:r>
          </a:p>
          <a:p>
            <a:pPr marL="285750" indent="-285750">
              <a:spcBef>
                <a:spcPts val="2400"/>
              </a:spcBef>
              <a:buFontTx/>
              <a:buChar char="-"/>
            </a:pPr>
            <a:r>
              <a:rPr lang="fr-FR" sz="1600" dirty="0"/>
              <a:t>Morgane </a:t>
            </a:r>
            <a:r>
              <a:rPr lang="fr-FR" sz="1600" dirty="0" err="1"/>
              <a:t>Goibert</a:t>
            </a:r>
            <a:r>
              <a:rPr lang="fr-FR" sz="1600" dirty="0"/>
              <a:t>, Thomas </a:t>
            </a:r>
            <a:r>
              <a:rPr lang="fr-FR" sz="1600" dirty="0" err="1"/>
              <a:t>Ricatte</a:t>
            </a:r>
            <a:r>
              <a:rPr lang="fr-FR" sz="1600" dirty="0"/>
              <a:t>, and Elvis </a:t>
            </a:r>
            <a:r>
              <a:rPr lang="fr-FR" sz="1600" dirty="0" err="1"/>
              <a:t>Dohmatob</a:t>
            </a:r>
            <a:r>
              <a:rPr lang="fr-FR" sz="1600" dirty="0"/>
              <a:t>. An </a:t>
            </a:r>
            <a:r>
              <a:rPr lang="fr-FR" sz="1600" dirty="0" err="1"/>
              <a:t>Adversarial</a:t>
            </a:r>
            <a:r>
              <a:rPr lang="fr-FR" sz="1600" dirty="0"/>
              <a:t> </a:t>
            </a:r>
            <a:r>
              <a:rPr lang="fr-FR" sz="1600" dirty="0" err="1"/>
              <a:t>Robustness</a:t>
            </a:r>
            <a:r>
              <a:rPr lang="fr-FR" sz="1600" dirty="0"/>
              <a:t> Perspective on the </a:t>
            </a:r>
            <a:r>
              <a:rPr lang="fr-FR" sz="1600" dirty="0" err="1"/>
              <a:t>Topology</a:t>
            </a:r>
            <a:r>
              <a:rPr lang="fr-FR" sz="1600" dirty="0"/>
              <a:t> of Neural Networks. (ML </a:t>
            </a:r>
            <a:r>
              <a:rPr lang="fr-FR" sz="1600" dirty="0" err="1"/>
              <a:t>Safety</a:t>
            </a:r>
            <a:r>
              <a:rPr lang="fr-FR" sz="1600" dirty="0"/>
              <a:t> Workshop </a:t>
            </a:r>
            <a:r>
              <a:rPr lang="fr-FR" sz="1600" dirty="0" err="1"/>
              <a:t>NeurIPS</a:t>
            </a:r>
            <a:r>
              <a:rPr lang="fr-FR" sz="1600" dirty="0"/>
              <a:t> 2022) </a:t>
            </a:r>
          </a:p>
          <a:p>
            <a:pPr marL="285750" indent="-285750">
              <a:spcBef>
                <a:spcPts val="2400"/>
              </a:spcBef>
              <a:buFontTx/>
              <a:buChar char="-"/>
            </a:pPr>
            <a:r>
              <a:rPr lang="fr-FR" sz="1600" dirty="0"/>
              <a:t>Elvis </a:t>
            </a:r>
            <a:r>
              <a:rPr lang="fr-FR" sz="1600" dirty="0" err="1"/>
              <a:t>Dohmatob</a:t>
            </a:r>
            <a:r>
              <a:rPr lang="fr-FR" sz="1600" dirty="0"/>
              <a:t>, Chuan Guo, and Morgane </a:t>
            </a:r>
            <a:r>
              <a:rPr lang="fr-FR" sz="1600" dirty="0" err="1"/>
              <a:t>Goibert</a:t>
            </a:r>
            <a:r>
              <a:rPr lang="fr-FR" sz="1600" dirty="0"/>
              <a:t>. </a:t>
            </a:r>
            <a:r>
              <a:rPr lang="fr-FR" sz="1600" dirty="0" err="1"/>
              <a:t>Origins</a:t>
            </a:r>
            <a:r>
              <a:rPr lang="fr-FR" sz="1600" dirty="0"/>
              <a:t> of </a:t>
            </a:r>
            <a:r>
              <a:rPr lang="fr-FR" sz="1600" dirty="0" err="1"/>
              <a:t>Low-dimensional</a:t>
            </a:r>
            <a:r>
              <a:rPr lang="fr-FR" sz="1600" dirty="0"/>
              <a:t> </a:t>
            </a:r>
            <a:r>
              <a:rPr lang="fr-FR" sz="1600" dirty="0" err="1"/>
              <a:t>Adversarial</a:t>
            </a:r>
            <a:r>
              <a:rPr lang="fr-FR" sz="1600" dirty="0"/>
              <a:t> Perturbations. (AISTATS 2023) </a:t>
            </a:r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sz="1600" dirty="0"/>
          </a:p>
          <a:p>
            <a:pPr marL="285750" indent="-285750">
              <a:buFontTx/>
              <a:buChar char="-"/>
            </a:pPr>
            <a:endParaRPr lang="fr-FR" sz="1600" dirty="0"/>
          </a:p>
          <a:p>
            <a:pPr marL="285750" indent="-285750">
              <a:buFontTx/>
              <a:buChar char="-"/>
            </a:pPr>
            <a:endParaRPr lang="fr-FR" sz="16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056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Image 72">
            <a:extLst>
              <a:ext uri="{FF2B5EF4-FFF2-40B4-BE49-F238E27FC236}">
                <a16:creationId xmlns:a16="http://schemas.microsoft.com/office/drawing/2014/main" id="{72B939D6-9A5F-B043-8A5B-14362692390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6" t="12385" r="10837" b="17947"/>
          <a:stretch/>
        </p:blipFill>
        <p:spPr>
          <a:xfrm>
            <a:off x="3688866" y="2154787"/>
            <a:ext cx="610732" cy="588465"/>
          </a:xfrm>
          <a:prstGeom prst="rect">
            <a:avLst/>
          </a:prstGeom>
        </p:spPr>
      </p:pic>
      <p:pic>
        <p:nvPicPr>
          <p:cNvPr id="71" name="Image 70">
            <a:extLst>
              <a:ext uri="{FF2B5EF4-FFF2-40B4-BE49-F238E27FC236}">
                <a16:creationId xmlns:a16="http://schemas.microsoft.com/office/drawing/2014/main" id="{0DF169B6-6F27-CD4A-A5A8-75C7BEACD80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96" t="12385" r="10837" b="17947"/>
          <a:stretch/>
        </p:blipFill>
        <p:spPr>
          <a:xfrm>
            <a:off x="7680417" y="2152851"/>
            <a:ext cx="610732" cy="5884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Outline and Motivation</a:t>
            </a:r>
            <a:endParaRPr lang="en-GB" sz="3200" dirty="0"/>
          </a:p>
        </p:txBody>
      </p:sp>
      <p:pic>
        <p:nvPicPr>
          <p:cNvPr id="55" name="Image 54" descr="Une image contenant texte&#10;&#10;Description générée automatiquement">
            <a:extLst>
              <a:ext uri="{FF2B5EF4-FFF2-40B4-BE49-F238E27FC236}">
                <a16:creationId xmlns:a16="http://schemas.microsoft.com/office/drawing/2014/main" id="{836A739C-CA2A-C6A4-1F78-07A724B86B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6B356F9-E245-557A-D923-6A9F72A737AA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b="1" dirty="0">
              <a:latin typeface="Hurme Geometric Sans 4 SemiBold" panose="020B0A00020000000000" pitchFamily="34" charset="77"/>
              <a:sym typeface="Wingdings" pitchFamily="2" charset="2"/>
            </a:endParaRPr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B006850D-B7FA-104F-B18F-C7A958AC9C14}"/>
              </a:ext>
            </a:extLst>
          </p:cNvPr>
          <p:cNvGrpSpPr/>
          <p:nvPr/>
        </p:nvGrpSpPr>
        <p:grpSpPr>
          <a:xfrm>
            <a:off x="5372667" y="1520600"/>
            <a:ext cx="1324510" cy="1147459"/>
            <a:chOff x="5372667" y="2069654"/>
            <a:chExt cx="1324510" cy="1147459"/>
          </a:xfrm>
        </p:grpSpPr>
        <p:pic>
          <p:nvPicPr>
            <p:cNvPr id="6" name="Graphique 5">
              <a:extLst>
                <a:ext uri="{FF2B5EF4-FFF2-40B4-BE49-F238E27FC236}">
                  <a16:creationId xmlns:a16="http://schemas.microsoft.com/office/drawing/2014/main" id="{928F4C80-DE87-C746-B41E-B71DAAD0A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72667" y="2069654"/>
              <a:ext cx="1324510" cy="273379"/>
            </a:xfrm>
            <a:prstGeom prst="rect">
              <a:avLst/>
            </a:prstGeom>
          </p:spPr>
        </p:pic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FA19BE1B-F21A-9D4A-AD63-F59944DAEB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16550" y="2534101"/>
              <a:ext cx="600304" cy="683012"/>
            </a:xfrm>
            <a:prstGeom prst="rect">
              <a:avLst/>
            </a:prstGeom>
          </p:spPr>
        </p:pic>
      </p:grp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87DD840A-BCE9-BD44-87C7-641315979149}"/>
              </a:ext>
            </a:extLst>
          </p:cNvPr>
          <p:cNvGrpSpPr/>
          <p:nvPr/>
        </p:nvGrpSpPr>
        <p:grpSpPr>
          <a:xfrm>
            <a:off x="4723148" y="3276103"/>
            <a:ext cx="2587107" cy="2854695"/>
            <a:chOff x="4802446" y="3247697"/>
            <a:chExt cx="2587107" cy="2854695"/>
          </a:xfrm>
        </p:grpSpPr>
        <p:grpSp>
          <p:nvGrpSpPr>
            <p:cNvPr id="50" name="Groupe 49">
              <a:extLst>
                <a:ext uri="{FF2B5EF4-FFF2-40B4-BE49-F238E27FC236}">
                  <a16:creationId xmlns:a16="http://schemas.microsoft.com/office/drawing/2014/main" id="{FE460001-5ADF-BC17-CF22-319D704E1D6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802446" y="3247697"/>
              <a:ext cx="2587107" cy="2854695"/>
              <a:chOff x="1249746" y="2191894"/>
              <a:chExt cx="3128211" cy="3451766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996DA82F-9717-5227-3A63-05CE508C7256}"/>
                  </a:ext>
                </a:extLst>
              </p:cNvPr>
              <p:cNvSpPr/>
              <p:nvPr/>
            </p:nvSpPr>
            <p:spPr>
              <a:xfrm>
                <a:off x="1249746" y="2191894"/>
                <a:ext cx="3128211" cy="3451766"/>
              </a:xfrm>
              <a:prstGeom prst="rect">
                <a:avLst/>
              </a:prstGeom>
              <a:noFill/>
              <a:ln w="571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49" name="Graphique 48">
                <a:extLst>
                  <a:ext uri="{FF2B5EF4-FFF2-40B4-BE49-F238E27FC236}">
                    <a16:creationId xmlns:a16="http://schemas.microsoft.com/office/drawing/2014/main" id="{AAF9D6D2-2708-0531-8254-660D0F61D4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075665" y="2420029"/>
                <a:ext cx="1504949" cy="342900"/>
              </a:xfrm>
              <a:prstGeom prst="rect">
                <a:avLst/>
              </a:prstGeom>
            </p:spPr>
          </p:pic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07492F11-31CB-6941-9835-EA9E9BEFF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912826" y="3803718"/>
              <a:ext cx="647146" cy="2222181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33F8D85-C4BA-374B-8D61-8B76ECFB8ED4}"/>
                </a:ext>
              </a:extLst>
            </p:cNvPr>
            <p:cNvSpPr/>
            <p:nvPr/>
          </p:nvSpPr>
          <p:spPr>
            <a:xfrm>
              <a:off x="5716550" y="3856498"/>
              <a:ext cx="1533336" cy="2113756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2" name="Arc 21">
            <a:extLst>
              <a:ext uri="{FF2B5EF4-FFF2-40B4-BE49-F238E27FC236}">
                <a16:creationId xmlns:a16="http://schemas.microsoft.com/office/drawing/2014/main" id="{F4A3392A-C085-0344-A335-5C3827C912C4}"/>
              </a:ext>
            </a:extLst>
          </p:cNvPr>
          <p:cNvSpPr/>
          <p:nvPr/>
        </p:nvSpPr>
        <p:spPr>
          <a:xfrm>
            <a:off x="4723148" y="2402023"/>
            <a:ext cx="4663850" cy="1925265"/>
          </a:xfrm>
          <a:prstGeom prst="arc">
            <a:avLst>
              <a:gd name="adj1" fmla="val 16200000"/>
              <a:gd name="adj2" fmla="val 20370577"/>
            </a:avLst>
          </a:prstGeom>
          <a:ln w="22225">
            <a:solidFill>
              <a:schemeClr val="tx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C9C9AC17-7E3A-D348-80F8-7488F4C8A0A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585857" y="3364655"/>
            <a:ext cx="651287" cy="435020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178A3C77-F1CB-A042-B134-BDC44835638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188858" y="3875306"/>
            <a:ext cx="515743" cy="386807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2DC819B6-B9E0-3C48-B052-D8E87425345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446729" y="3345077"/>
            <a:ext cx="472094" cy="330466"/>
          </a:xfrm>
          <a:prstGeom prst="rect">
            <a:avLst/>
          </a:prstGeom>
        </p:spPr>
      </p:pic>
      <p:grpSp>
        <p:nvGrpSpPr>
          <p:cNvPr id="27" name="Groupe 26">
            <a:extLst>
              <a:ext uri="{FF2B5EF4-FFF2-40B4-BE49-F238E27FC236}">
                <a16:creationId xmlns:a16="http://schemas.microsoft.com/office/drawing/2014/main" id="{AF56E826-0D08-F34B-A2AA-C2D0C15DD037}"/>
              </a:ext>
            </a:extLst>
          </p:cNvPr>
          <p:cNvGrpSpPr/>
          <p:nvPr/>
        </p:nvGrpSpPr>
        <p:grpSpPr>
          <a:xfrm>
            <a:off x="2181830" y="2051024"/>
            <a:ext cx="717516" cy="1159661"/>
            <a:chOff x="1653005" y="1542902"/>
            <a:chExt cx="717516" cy="1159661"/>
          </a:xfrm>
        </p:grpSpPr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id="{CD3F3250-1E21-3643-AA9E-ADAF1C035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653005" y="1985047"/>
              <a:ext cx="717516" cy="717516"/>
            </a:xfrm>
            <a:prstGeom prst="rect">
              <a:avLst/>
            </a:prstGeom>
          </p:spPr>
        </p:pic>
        <p:sp>
          <p:nvSpPr>
            <p:cNvPr id="56" name="Text Placeholder 4">
              <a:extLst>
                <a:ext uri="{FF2B5EF4-FFF2-40B4-BE49-F238E27FC236}">
                  <a16:creationId xmlns:a16="http://schemas.microsoft.com/office/drawing/2014/main" id="{F15DD523-1687-2347-89C6-5A318A329865}"/>
                </a:ext>
              </a:extLst>
            </p:cNvPr>
            <p:cNvSpPr txBox="1">
              <a:spLocks/>
            </p:cNvSpPr>
            <p:nvPr/>
          </p:nvSpPr>
          <p:spPr>
            <a:xfrm>
              <a:off x="1687201" y="1542902"/>
              <a:ext cx="661018" cy="388759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>
                  <a:sym typeface="Wingdings" pitchFamily="2" charset="2"/>
                </a:rPr>
                <a:t>User</a:t>
              </a:r>
            </a:p>
          </p:txBody>
        </p:sp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2F31A6B5-1761-4B4A-A3C7-D8B1BBE5DAFC}"/>
              </a:ext>
            </a:extLst>
          </p:cNvPr>
          <p:cNvGrpSpPr/>
          <p:nvPr/>
        </p:nvGrpSpPr>
        <p:grpSpPr>
          <a:xfrm>
            <a:off x="9107758" y="2025953"/>
            <a:ext cx="782574" cy="1201605"/>
            <a:chOff x="9048311" y="1267530"/>
            <a:chExt cx="782574" cy="1201605"/>
          </a:xfrm>
        </p:grpSpPr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70CD2BCC-5C8B-C446-8A9E-A2B2A350A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9048311" y="1686561"/>
              <a:ext cx="782574" cy="782574"/>
            </a:xfrm>
            <a:prstGeom prst="rect">
              <a:avLst/>
            </a:prstGeom>
          </p:spPr>
        </p:pic>
        <p:sp>
          <p:nvSpPr>
            <p:cNvPr id="59" name="Text Placeholder 4">
              <a:extLst>
                <a:ext uri="{FF2B5EF4-FFF2-40B4-BE49-F238E27FC236}">
                  <a16:creationId xmlns:a16="http://schemas.microsoft.com/office/drawing/2014/main" id="{C9A5300C-C88F-9A46-B4C3-C0B93E2FD32C}"/>
                </a:ext>
              </a:extLst>
            </p:cNvPr>
            <p:cNvSpPr txBox="1">
              <a:spLocks/>
            </p:cNvSpPr>
            <p:nvPr/>
          </p:nvSpPr>
          <p:spPr>
            <a:xfrm>
              <a:off x="9120589" y="1267530"/>
              <a:ext cx="661018" cy="388759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>
                  <a:sym typeface="Wingdings" pitchFamily="2" charset="2"/>
                </a:rPr>
                <a:t>Brand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C194EACD-B0C5-BD48-9465-8FCB04D046B6}"/>
              </a:ext>
            </a:extLst>
          </p:cNvPr>
          <p:cNvGrpSpPr/>
          <p:nvPr/>
        </p:nvGrpSpPr>
        <p:grpSpPr>
          <a:xfrm>
            <a:off x="1769840" y="3474399"/>
            <a:ext cx="1617258" cy="357725"/>
            <a:chOff x="1530482" y="3596608"/>
            <a:chExt cx="1617258" cy="357725"/>
          </a:xfrm>
        </p:grpSpPr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989836C7-95D9-6D43-8E26-BEE3A61B9C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530482" y="3596608"/>
              <a:ext cx="430346" cy="357725"/>
            </a:xfrm>
            <a:prstGeom prst="rect">
              <a:avLst/>
            </a:prstGeom>
          </p:spPr>
        </p:pic>
        <p:sp>
          <p:nvSpPr>
            <p:cNvPr id="63" name="Text Placeholder 4">
              <a:extLst>
                <a:ext uri="{FF2B5EF4-FFF2-40B4-BE49-F238E27FC236}">
                  <a16:creationId xmlns:a16="http://schemas.microsoft.com/office/drawing/2014/main" id="{76F2F02B-CE7E-AD49-A214-D9ED30C04FB7}"/>
                </a:ext>
              </a:extLst>
            </p:cNvPr>
            <p:cNvSpPr txBox="1">
              <a:spLocks/>
            </p:cNvSpPr>
            <p:nvPr/>
          </p:nvSpPr>
          <p:spPr>
            <a:xfrm>
              <a:off x="1925530" y="3597486"/>
              <a:ext cx="256300" cy="34103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>
                  <a:sym typeface="Wingdings" pitchFamily="2" charset="2"/>
                </a:rPr>
                <a:t>&gt;</a:t>
              </a:r>
            </a:p>
          </p:txBody>
        </p:sp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id="{FB006469-A04A-0F43-98AC-F1881B48D8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2208089" y="3645629"/>
              <a:ext cx="292889" cy="292889"/>
            </a:xfrm>
            <a:prstGeom prst="rect">
              <a:avLst/>
            </a:prstGeom>
          </p:spPr>
        </p:pic>
        <p:pic>
          <p:nvPicPr>
            <p:cNvPr id="31" name="Image 30">
              <a:extLst>
                <a:ext uri="{FF2B5EF4-FFF2-40B4-BE49-F238E27FC236}">
                  <a16:creationId xmlns:a16="http://schemas.microsoft.com/office/drawing/2014/main" id="{A8ED0422-67D1-3243-B392-28E17CCE52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2823220" y="3629813"/>
              <a:ext cx="324520" cy="324520"/>
            </a:xfrm>
            <a:prstGeom prst="rect">
              <a:avLst/>
            </a:prstGeom>
          </p:spPr>
        </p:pic>
        <p:sp>
          <p:nvSpPr>
            <p:cNvPr id="64" name="Text Placeholder 4">
              <a:extLst>
                <a:ext uri="{FF2B5EF4-FFF2-40B4-BE49-F238E27FC236}">
                  <a16:creationId xmlns:a16="http://schemas.microsoft.com/office/drawing/2014/main" id="{2DAA5412-A9C5-5B48-8C6B-60DADA6C9ED1}"/>
                </a:ext>
              </a:extLst>
            </p:cNvPr>
            <p:cNvSpPr txBox="1">
              <a:spLocks/>
            </p:cNvSpPr>
            <p:nvPr/>
          </p:nvSpPr>
          <p:spPr>
            <a:xfrm>
              <a:off x="2576878" y="3604953"/>
              <a:ext cx="256300" cy="34103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>
                  <a:sym typeface="Wingdings" pitchFamily="2" charset="2"/>
                </a:rPr>
                <a:t>&gt;</a:t>
              </a:r>
            </a:p>
          </p:txBody>
        </p:sp>
      </p:grpSp>
      <p:sp>
        <p:nvSpPr>
          <p:cNvPr id="45" name="Flèche vers le bas 44">
            <a:extLst>
              <a:ext uri="{FF2B5EF4-FFF2-40B4-BE49-F238E27FC236}">
                <a16:creationId xmlns:a16="http://schemas.microsoft.com/office/drawing/2014/main" id="{FA35A945-4CCF-D047-927C-9165EB016513}"/>
              </a:ext>
            </a:extLst>
          </p:cNvPr>
          <p:cNvSpPr/>
          <p:nvPr/>
        </p:nvSpPr>
        <p:spPr>
          <a:xfrm>
            <a:off x="5941890" y="2769681"/>
            <a:ext cx="150902" cy="423962"/>
          </a:xfrm>
          <a:prstGeom prst="downArrow">
            <a:avLst>
              <a:gd name="adj1" fmla="val 50000"/>
              <a:gd name="adj2" fmla="val 8508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1" name="Arc 60">
            <a:extLst>
              <a:ext uri="{FF2B5EF4-FFF2-40B4-BE49-F238E27FC236}">
                <a16:creationId xmlns:a16="http://schemas.microsoft.com/office/drawing/2014/main" id="{96A68129-2129-E943-BEDE-E7767C363901}"/>
              </a:ext>
            </a:extLst>
          </p:cNvPr>
          <p:cNvSpPr/>
          <p:nvPr/>
        </p:nvSpPr>
        <p:spPr>
          <a:xfrm flipH="1">
            <a:off x="2657556" y="2382444"/>
            <a:ext cx="4537744" cy="1925265"/>
          </a:xfrm>
          <a:prstGeom prst="arc">
            <a:avLst>
              <a:gd name="adj1" fmla="val 16200000"/>
              <a:gd name="adj2" fmla="val 20370577"/>
            </a:avLst>
          </a:prstGeom>
          <a:ln w="22225">
            <a:solidFill>
              <a:schemeClr val="tx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4107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DAA457-A278-49C3-A69A-49B23D2955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535" y="2798362"/>
            <a:ext cx="4227940" cy="687997"/>
          </a:xfrm>
        </p:spPr>
        <p:txBody>
          <a:bodyPr/>
          <a:lstStyle/>
          <a:p>
            <a:r>
              <a:rPr lang="en-US" dirty="0"/>
              <a:t>Additional Slides</a:t>
            </a:r>
            <a:endParaRPr lang="en-GB" dirty="0"/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82FAC381-9052-C849-9154-5F5E7D051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0806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41BACE-647B-4FD1-9C69-FD868CBE2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3543" y="710576"/>
            <a:ext cx="9634422" cy="3254400"/>
          </a:xfrm>
        </p:spPr>
        <p:txBody>
          <a:bodyPr>
            <a:normAutofit/>
          </a:bodyPr>
          <a:lstStyle/>
          <a:p>
            <a:r>
              <a:rPr lang="en-US" dirty="0">
                <a:sym typeface="Wingdings" pitchFamily="2" charset="2"/>
              </a:rPr>
              <a:t>Detecting Adversarial Attacks in DNNs by Studying their Topology</a:t>
            </a:r>
          </a:p>
        </p:txBody>
      </p: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2E872277-AE56-5715-F673-0F70C29CF3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3554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 fontScale="90000"/>
          </a:bodyPr>
          <a:lstStyle/>
          <a:p>
            <a:r>
              <a:rPr lang="en-US" sz="3200" dirty="0">
                <a:sym typeface="Wingdings" pitchFamily="2" charset="2"/>
              </a:rPr>
              <a:t>Detecting Adversarial Attacks in DNNs by Studying their Topology</a:t>
            </a:r>
            <a:endParaRPr lang="en-GB" sz="3200" dirty="0"/>
          </a:p>
        </p:txBody>
      </p:sp>
      <p:pic>
        <p:nvPicPr>
          <p:cNvPr id="31" name="Image 30" descr="Une image contenant texte&#10;&#10;Description générée automatiquement">
            <a:extLst>
              <a:ext uri="{FF2B5EF4-FFF2-40B4-BE49-F238E27FC236}">
                <a16:creationId xmlns:a16="http://schemas.microsoft.com/office/drawing/2014/main" id="{ED217841-3D20-8B47-9760-583247ED6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1DCDB6F8-9859-8600-7CF6-84A87D04E310}"/>
              </a:ext>
            </a:extLst>
          </p:cNvPr>
          <p:cNvSpPr txBox="1">
            <a:spLocks/>
          </p:cNvSpPr>
          <p:nvPr/>
        </p:nvSpPr>
        <p:spPr>
          <a:xfrm>
            <a:off x="848018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Over-parametrization and Robustness – Theoretical Argumen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834F2-3F12-4991-C146-43A5B1183415}"/>
              </a:ext>
            </a:extLst>
          </p:cNvPr>
          <p:cNvSpPr txBox="1">
            <a:spLocks/>
          </p:cNvSpPr>
          <p:nvPr/>
        </p:nvSpPr>
        <p:spPr>
          <a:xfrm>
            <a:off x="459151" y="1521930"/>
            <a:ext cx="11198814" cy="41930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600" dirty="0"/>
              <a:t>Let            be the set of all weighted paths in                  :</a:t>
            </a:r>
          </a:p>
          <a:p>
            <a:pPr>
              <a:spcBef>
                <a:spcPts val="1000"/>
              </a:spcBef>
            </a:pPr>
            <a:r>
              <a:rPr lang="en-US" sz="1600" dirty="0"/>
              <a:t>Active paths:</a:t>
            </a:r>
          </a:p>
          <a:p>
            <a:pPr>
              <a:spcBef>
                <a:spcPts val="1000"/>
              </a:spcBef>
            </a:pPr>
            <a:r>
              <a:rPr lang="en-US" sz="1600" dirty="0"/>
              <a:t>Weights product:    </a:t>
            </a:r>
          </a:p>
          <a:p>
            <a:pPr>
              <a:spcBef>
                <a:spcPts val="300"/>
              </a:spcBef>
            </a:pPr>
            <a:endParaRPr lang="en-US" sz="1600" dirty="0"/>
          </a:p>
          <a:p>
            <a:pPr>
              <a:spcBef>
                <a:spcPts val="300"/>
              </a:spcBef>
            </a:pPr>
            <a:endParaRPr lang="en-US" sz="1600" dirty="0"/>
          </a:p>
          <a:p>
            <a:pPr>
              <a:spcBef>
                <a:spcPts val="300"/>
              </a:spcBef>
            </a:pPr>
            <a:endParaRPr lang="en-US" sz="1600" dirty="0"/>
          </a:p>
          <a:p>
            <a:pPr>
              <a:spcBef>
                <a:spcPts val="300"/>
              </a:spcBef>
            </a:pPr>
            <a:endParaRPr lang="en-US" sz="16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90165AA-7C15-A342-9622-EED10A4FEE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643" y="1621577"/>
            <a:ext cx="419100" cy="2159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7DA6166-A8A9-D649-BA52-1B5CFC1FE2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4833" y="1621577"/>
            <a:ext cx="698500" cy="2159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97900C6-86E5-EC4C-8458-25735C995D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1992" y="1519977"/>
            <a:ext cx="4800600" cy="3175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E0EB2029-0289-9442-8AA2-71ADACCAF0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80606" y="2025374"/>
            <a:ext cx="3771900" cy="24130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56C6864-58FB-F54C-95AD-03ABD45587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1276" y="2440914"/>
            <a:ext cx="2654300" cy="266700"/>
          </a:xfrm>
          <a:prstGeom prst="rect">
            <a:avLst/>
          </a:prstGeom>
        </p:spPr>
      </p:pic>
      <p:grpSp>
        <p:nvGrpSpPr>
          <p:cNvPr id="9" name="Groupe 8">
            <a:extLst>
              <a:ext uri="{FF2B5EF4-FFF2-40B4-BE49-F238E27FC236}">
                <a16:creationId xmlns:a16="http://schemas.microsoft.com/office/drawing/2014/main" id="{2F020D10-B78F-E449-AC79-439FEC0D1E00}"/>
              </a:ext>
            </a:extLst>
          </p:cNvPr>
          <p:cNvGrpSpPr/>
          <p:nvPr/>
        </p:nvGrpSpPr>
        <p:grpSpPr>
          <a:xfrm>
            <a:off x="538124" y="2868602"/>
            <a:ext cx="6038645" cy="1395007"/>
            <a:chOff x="1628242" y="3237209"/>
            <a:chExt cx="6038645" cy="1395007"/>
          </a:xfrm>
        </p:grpSpPr>
        <p:sp>
          <p:nvSpPr>
            <p:cNvPr id="12" name="Text Placeholder 4">
              <a:extLst>
                <a:ext uri="{FF2B5EF4-FFF2-40B4-BE49-F238E27FC236}">
                  <a16:creationId xmlns:a16="http://schemas.microsoft.com/office/drawing/2014/main" id="{A6E5F98E-08C5-D14B-B780-14D0066C3C2A}"/>
                </a:ext>
              </a:extLst>
            </p:cNvPr>
            <p:cNvSpPr txBox="1">
              <a:spLocks/>
            </p:cNvSpPr>
            <p:nvPr/>
          </p:nvSpPr>
          <p:spPr>
            <a:xfrm>
              <a:off x="1628242" y="3241566"/>
              <a:ext cx="5991753" cy="1225305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tx2"/>
                  </a:solidFill>
                  <a:sym typeface="Wingdings" pitchFamily="2" charset="2"/>
                </a:rPr>
                <a:t>Proposition</a:t>
              </a:r>
            </a:p>
            <a:p>
              <a:endParaRPr lang="en-US" sz="1600" dirty="0">
                <a:solidFill>
                  <a:schemeClr val="tx2"/>
                </a:solidFill>
                <a:sym typeface="Wingdings" pitchFamily="2" charset="2"/>
              </a:endParaRPr>
            </a:p>
            <a:p>
              <a:endParaRPr lang="en-US" sz="1600" dirty="0">
                <a:solidFill>
                  <a:schemeClr val="tx2"/>
                </a:solidFill>
                <a:sym typeface="Wingdings" pitchFamily="2" charset="2"/>
              </a:endParaRPr>
            </a:p>
            <a:p>
              <a:endParaRPr lang="en-US" sz="1600" dirty="0">
                <a:solidFill>
                  <a:schemeClr val="tx2"/>
                </a:solidFill>
                <a:sym typeface="Wingdings" pitchFamily="2" charset="2"/>
              </a:endParaRPr>
            </a:p>
            <a:p>
              <a:endParaRPr lang="en-US" sz="1600" dirty="0">
                <a:solidFill>
                  <a:schemeClr val="tx2"/>
                </a:solidFill>
                <a:sym typeface="Wingdings" pitchFamily="2" charset="2"/>
              </a:endParaRPr>
            </a:p>
            <a:p>
              <a:endParaRPr lang="en-US" sz="1600" dirty="0">
                <a:solidFill>
                  <a:schemeClr val="tx2"/>
                </a:solidFill>
                <a:sym typeface="Wingdings" pitchFamily="2" charset="2"/>
              </a:endParaRPr>
            </a:p>
            <a:p>
              <a:endParaRPr lang="en-US" sz="1600" dirty="0">
                <a:solidFill>
                  <a:schemeClr val="tx2"/>
                </a:solidFill>
                <a:sym typeface="Wingdings" pitchFamily="2" charset="2"/>
              </a:endParaRPr>
            </a:p>
            <a:p>
              <a:endParaRPr lang="en-US" sz="1600" dirty="0">
                <a:sym typeface="Wingdings" pitchFamily="2" charset="2"/>
              </a:endParaRPr>
            </a:p>
            <a:p>
              <a:pPr>
                <a:spcAft>
                  <a:spcPts val="600"/>
                </a:spcAft>
              </a:pPr>
              <a:endParaRPr lang="en-US" dirty="0">
                <a:solidFill>
                  <a:schemeClr val="tx1"/>
                </a:solidFill>
                <a:sym typeface="Wingdings" pitchFamily="2" charset="2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9C4426D-D350-494D-BC43-42CE72555341}"/>
                </a:ext>
              </a:extLst>
            </p:cNvPr>
            <p:cNvSpPr/>
            <p:nvPr/>
          </p:nvSpPr>
          <p:spPr>
            <a:xfrm>
              <a:off x="1628242" y="3281187"/>
              <a:ext cx="5991753" cy="1351029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" name="Text Placeholder 4">
              <a:extLst>
                <a:ext uri="{FF2B5EF4-FFF2-40B4-BE49-F238E27FC236}">
                  <a16:creationId xmlns:a16="http://schemas.microsoft.com/office/drawing/2014/main" id="{FE2E7DFC-8DAC-234D-9AC3-09F632032723}"/>
                </a:ext>
              </a:extLst>
            </p:cNvPr>
            <p:cNvSpPr txBox="1">
              <a:spLocks/>
            </p:cNvSpPr>
            <p:nvPr/>
          </p:nvSpPr>
          <p:spPr>
            <a:xfrm>
              <a:off x="4599515" y="3237209"/>
              <a:ext cx="3067372" cy="45844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[MG, </a:t>
              </a:r>
              <a:r>
                <a:rPr lang="en-US" sz="16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Ricatte</a:t>
              </a:r>
              <a:r>
                <a:rPr lang="en-US" sz="16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and </a:t>
              </a:r>
              <a:r>
                <a:rPr lang="en-US" sz="1600" dirty="0" err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Dohmatob</a:t>
              </a:r>
              <a:r>
                <a:rPr lang="en-US" sz="16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2022]</a:t>
              </a:r>
            </a:p>
          </p:txBody>
        </p:sp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42A13CAC-FA00-1544-ABDD-A8D0F7249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754916" y="3843182"/>
              <a:ext cx="5689600" cy="584200"/>
            </a:xfrm>
            <a:prstGeom prst="rect">
              <a:avLst/>
            </a:prstGeom>
          </p:spPr>
        </p:pic>
      </p:grpSp>
      <p:pic>
        <p:nvPicPr>
          <p:cNvPr id="10" name="Image 9">
            <a:extLst>
              <a:ext uri="{FF2B5EF4-FFF2-40B4-BE49-F238E27FC236}">
                <a16:creationId xmlns:a16="http://schemas.microsoft.com/office/drawing/2014/main" id="{F474E1BE-FAD3-2B40-9944-4CC7D2ED07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1505" y="2850175"/>
            <a:ext cx="800100" cy="495300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80974D71-ACC0-BC44-8134-6BFC706DB54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69703" y="4510048"/>
            <a:ext cx="4396071" cy="1998214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D5B14C5-FA40-364C-98E5-35D593762FCB}"/>
              </a:ext>
            </a:extLst>
          </p:cNvPr>
          <p:cNvSpPr txBox="1">
            <a:spLocks/>
          </p:cNvSpPr>
          <p:nvPr/>
        </p:nvSpPr>
        <p:spPr>
          <a:xfrm>
            <a:off x="6662548" y="2821573"/>
            <a:ext cx="4995418" cy="15222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</a:pPr>
            <a:r>
              <a:rPr lang="en-US" sz="1600" b="1" u="sng" dirty="0"/>
              <a:t>Interpretation:</a:t>
            </a:r>
            <a:r>
              <a:rPr lang="en-US" sz="1600" dirty="0"/>
              <a:t>                      is an indicator of robustness</a:t>
            </a:r>
          </a:p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1600" dirty="0"/>
              <a:t> </a:t>
            </a:r>
            <a:r>
              <a:rPr lang="en-US" sz="1600" dirty="0">
                <a:sym typeface="Wingdings" pitchFamily="2" charset="2"/>
              </a:rPr>
              <a:t> smaller is better</a:t>
            </a:r>
          </a:p>
          <a:p>
            <a:pPr>
              <a:spcBef>
                <a:spcPts val="300"/>
              </a:spcBef>
            </a:pPr>
            <a:r>
              <a:rPr lang="en-US" sz="1600" dirty="0"/>
              <a:t>To get it smaller: have less active paths </a:t>
            </a:r>
            <a:r>
              <a:rPr lang="en-US" sz="1600" dirty="0">
                <a:sym typeface="Wingdings" pitchFamily="2" charset="2"/>
              </a:rPr>
              <a:t>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pruning of under-optimized edges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2223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41BACE-647B-4FD1-9C69-FD868CBE2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7578" y="660700"/>
            <a:ext cx="9634422" cy="3254400"/>
          </a:xfrm>
        </p:spPr>
        <p:txBody>
          <a:bodyPr>
            <a:normAutofit/>
          </a:bodyPr>
          <a:lstStyle/>
          <a:p>
            <a:r>
              <a:rPr lang="en-US" dirty="0">
                <a:sym typeface="Wingdings" pitchFamily="2" charset="2"/>
              </a:rPr>
              <a:t>Depth Functions for Rankings</a:t>
            </a:r>
          </a:p>
        </p:txBody>
      </p: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2E872277-AE56-5715-F673-0F70C29CF3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10358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0E4A209E-0CDF-CFCF-52FA-754430C54821}"/>
              </a:ext>
            </a:extLst>
          </p:cNvPr>
          <p:cNvSpPr/>
          <p:nvPr/>
        </p:nvSpPr>
        <p:spPr>
          <a:xfrm rot="16200000">
            <a:off x="8423499" y="4987024"/>
            <a:ext cx="936000" cy="18000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83871EF-C8EC-E5AE-3226-44276DAC3D1C}"/>
              </a:ext>
            </a:extLst>
          </p:cNvPr>
          <p:cNvSpPr/>
          <p:nvPr/>
        </p:nvSpPr>
        <p:spPr>
          <a:xfrm rot="11984986">
            <a:off x="8010807" y="5311189"/>
            <a:ext cx="904245" cy="1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dirty="0"/>
              <a:t>Depth Function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A50BE4-118F-45E2-A27D-4DB48AD15F1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01714" y="1666316"/>
            <a:ext cx="7705408" cy="3798049"/>
          </a:xfrm>
        </p:spPr>
        <p:txBody>
          <a:bodyPr/>
          <a:lstStyle/>
          <a:p>
            <a:r>
              <a:rPr lang="en-US" sz="1600" b="1" u="sng" dirty="0"/>
              <a:t>Intuition:</a:t>
            </a:r>
          </a:p>
          <a:p>
            <a:r>
              <a:rPr lang="en-US" dirty="0"/>
              <a:t>We want a function that gives each point a </a:t>
            </a:r>
            <a:r>
              <a:rPr lang="en-US" dirty="0">
                <a:solidFill>
                  <a:schemeClr val="tx2"/>
                </a:solidFill>
              </a:rPr>
              <a:t>center-outward</a:t>
            </a:r>
            <a:r>
              <a:rPr lang="en-US" dirty="0"/>
              <a:t> ordering by giving , i.e. a </a:t>
            </a:r>
            <a:r>
              <a:rPr lang="en-US" dirty="0">
                <a:solidFill>
                  <a:schemeClr val="tx2"/>
                </a:solidFill>
              </a:rPr>
              <a:t>score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sz="1600" b="1" u="sng" dirty="0"/>
              <a:t>Axiomatic Definition:</a:t>
            </a:r>
          </a:p>
          <a:p>
            <a:r>
              <a:rPr lang="en-US" dirty="0">
                <a:solidFill>
                  <a:schemeClr val="tx2"/>
                </a:solidFill>
              </a:rPr>
              <a:t>- Affine invariance</a:t>
            </a:r>
            <a:r>
              <a:rPr lang="en-US" dirty="0"/>
              <a:t>: The depth scores do not change when we translate all the distribution.</a:t>
            </a:r>
            <a:endParaRPr lang="en-US" sz="1400" b="1" u="sng" dirty="0"/>
          </a:p>
          <a:p>
            <a:r>
              <a:rPr lang="en-GB" dirty="0">
                <a:solidFill>
                  <a:schemeClr val="tx2"/>
                </a:solidFill>
              </a:rPr>
              <a:t>- Maximality at </a:t>
            </a:r>
            <a:r>
              <a:rPr lang="en-GB" dirty="0" err="1">
                <a:solidFill>
                  <a:schemeClr val="tx2"/>
                </a:solidFill>
              </a:rPr>
              <a:t>center</a:t>
            </a:r>
            <a:r>
              <a:rPr lang="en-GB" dirty="0"/>
              <a:t>: If the distribution has a </a:t>
            </a:r>
            <a:r>
              <a:rPr lang="en-GB" dirty="0" err="1"/>
              <a:t>center</a:t>
            </a:r>
            <a:r>
              <a:rPr lang="en-GB" dirty="0"/>
              <a:t>, the depth scores is maximal at that point. </a:t>
            </a:r>
            <a:r>
              <a:rPr lang="en-GB" u="sng" dirty="0"/>
              <a:t>Challenge</a:t>
            </a:r>
            <a:r>
              <a:rPr lang="en-GB" dirty="0"/>
              <a:t>: Define a </a:t>
            </a:r>
            <a:r>
              <a:rPr lang="en-GB" dirty="0" err="1"/>
              <a:t>center</a:t>
            </a:r>
            <a:r>
              <a:rPr lang="en-GB" dirty="0"/>
              <a:t> on rankings.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C1ECA3AD-0384-7E41-9B89-0163C3C52446}"/>
              </a:ext>
            </a:extLst>
          </p:cNvPr>
          <p:cNvSpPr txBox="1">
            <a:spLocks/>
          </p:cNvSpPr>
          <p:nvPr/>
        </p:nvSpPr>
        <p:spPr>
          <a:xfrm>
            <a:off x="1543004" y="3997976"/>
            <a:ext cx="1435100" cy="6042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itchFamily="2" charset="2"/>
              <a:buChar char="à"/>
            </a:pPr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M-center</a:t>
            </a:r>
            <a:r>
              <a:rPr lang="en-US" dirty="0">
                <a:sym typeface="Wingdings" pitchFamily="2" charset="2"/>
              </a:rPr>
              <a:t>:</a:t>
            </a:r>
          </a:p>
          <a:p>
            <a:pPr marL="285750" indent="-285750">
              <a:buFont typeface="Wingdings" pitchFamily="2" charset="2"/>
              <a:buChar char="à"/>
            </a:pPr>
            <a:endParaRPr lang="en-GB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854F1151-193C-04D4-5470-676382CE6128}"/>
              </a:ext>
            </a:extLst>
          </p:cNvPr>
          <p:cNvGrpSpPr/>
          <p:nvPr/>
        </p:nvGrpSpPr>
        <p:grpSpPr>
          <a:xfrm>
            <a:off x="2876966" y="4695253"/>
            <a:ext cx="4060004" cy="436246"/>
            <a:chOff x="2778900" y="4074597"/>
            <a:chExt cx="4060004" cy="436246"/>
          </a:xfrm>
        </p:grpSpPr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37EB2DA2-1854-DF4B-A68D-69322FA0A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00304" y="4074597"/>
              <a:ext cx="4038600" cy="203200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A77B1E5C-83C9-0141-A317-B698E63540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262"/>
            <a:stretch/>
          </p:blipFill>
          <p:spPr>
            <a:xfrm>
              <a:off x="2778900" y="4320343"/>
              <a:ext cx="2129603" cy="190500"/>
            </a:xfrm>
            <a:prstGeom prst="rect">
              <a:avLst/>
            </a:prstGeom>
          </p:spPr>
        </p:pic>
      </p:grp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6FE3BED-E2F0-F842-A669-5C20DCB2870C}"/>
              </a:ext>
            </a:extLst>
          </p:cNvPr>
          <p:cNvSpPr txBox="1">
            <a:spLocks/>
          </p:cNvSpPr>
          <p:nvPr/>
        </p:nvSpPr>
        <p:spPr>
          <a:xfrm>
            <a:off x="1543004" y="4596664"/>
            <a:ext cx="1435100" cy="6042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itchFamily="2" charset="2"/>
              <a:buChar char="à"/>
            </a:pPr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H-center</a:t>
            </a:r>
            <a:r>
              <a:rPr lang="en-US" dirty="0">
                <a:sym typeface="Wingdings" pitchFamily="2" charset="2"/>
              </a:rPr>
              <a:t>:</a:t>
            </a:r>
          </a:p>
          <a:p>
            <a:pPr marL="285750" indent="-285750">
              <a:buFont typeface="Wingdings" pitchFamily="2" charset="2"/>
              <a:buChar char="à"/>
            </a:pPr>
            <a:endParaRPr lang="en-GB" dirty="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DF4783E8-8E77-6AC9-550A-9D4ACE2069E7}"/>
              </a:ext>
            </a:extLst>
          </p:cNvPr>
          <p:cNvGrpSpPr/>
          <p:nvPr/>
        </p:nvGrpSpPr>
        <p:grpSpPr>
          <a:xfrm>
            <a:off x="2876966" y="4080658"/>
            <a:ext cx="3581400" cy="450542"/>
            <a:chOff x="2901904" y="4680846"/>
            <a:chExt cx="3581400" cy="450542"/>
          </a:xfrm>
        </p:grpSpPr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A90654B6-F06E-AA4B-A59B-8239A7416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01904" y="4680846"/>
              <a:ext cx="3022600" cy="190500"/>
            </a:xfrm>
            <a:prstGeom prst="rect">
              <a:avLst/>
            </a:prstGeom>
          </p:spPr>
        </p:pic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01EF309B-2D6E-DB48-A308-8FDDB70D6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35304" y="4940888"/>
              <a:ext cx="3048000" cy="190500"/>
            </a:xfrm>
            <a:prstGeom prst="rect">
              <a:avLst/>
            </a:prstGeom>
          </p:spPr>
        </p:pic>
      </p:grpSp>
      <p:sp>
        <p:nvSpPr>
          <p:cNvPr id="26" name="ZoneTexte 25">
            <a:extLst>
              <a:ext uri="{FF2B5EF4-FFF2-40B4-BE49-F238E27FC236}">
                <a16:creationId xmlns:a16="http://schemas.microsoft.com/office/drawing/2014/main" id="{B3D96ECF-1EA5-E048-B10E-0594F0B1A95C}"/>
              </a:ext>
            </a:extLst>
          </p:cNvPr>
          <p:cNvSpPr txBox="1"/>
          <p:nvPr/>
        </p:nvSpPr>
        <p:spPr>
          <a:xfrm>
            <a:off x="991986" y="5419485"/>
            <a:ext cx="62350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HurmeGeometricSans1 Regular" panose="020B0500020000000000" pitchFamily="34" charset="77"/>
              </a:rPr>
              <a:t>- Monotonicity</a:t>
            </a:r>
            <a:r>
              <a:rPr lang="en-US" sz="1400" dirty="0">
                <a:latin typeface="HurmeGeometricSans1 Regular" panose="020B0500020000000000" pitchFamily="34" charset="77"/>
              </a:rPr>
              <a:t>: The depth score decreases when we move farther away from the center</a:t>
            </a:r>
            <a:endParaRPr lang="fr-FR" sz="1400" dirty="0">
              <a:latin typeface="HurmeGeometricSans1 Regular" panose="020B0500020000000000" pitchFamily="34" charset="77"/>
            </a:endParaRPr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1557B445-A496-114F-9684-B16BEEA948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6262" y="5967803"/>
            <a:ext cx="4775200" cy="190500"/>
          </a:xfrm>
          <a:prstGeom prst="rect">
            <a:avLst/>
          </a:prstGeom>
        </p:spPr>
      </p:pic>
      <p:pic>
        <p:nvPicPr>
          <p:cNvPr id="36" name="Image 35" descr="Une image contenant texte&#10;&#10;Description générée automatiquement">
            <a:extLst>
              <a:ext uri="{FF2B5EF4-FFF2-40B4-BE49-F238E27FC236}">
                <a16:creationId xmlns:a16="http://schemas.microsoft.com/office/drawing/2014/main" id="{97553280-FC2E-754B-AF39-F182B08E60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040A0FF1-AE8C-6A26-2D10-1C69F14220F6}"/>
              </a:ext>
            </a:extLst>
          </p:cNvPr>
          <p:cNvGrpSpPr/>
          <p:nvPr/>
        </p:nvGrpSpPr>
        <p:grpSpPr>
          <a:xfrm>
            <a:off x="1375553" y="984323"/>
            <a:ext cx="6380309" cy="479189"/>
            <a:chOff x="1375553" y="984323"/>
            <a:chExt cx="6380309" cy="479189"/>
          </a:xfrm>
        </p:grpSpPr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2780BCED-3AE9-444F-C268-717FB0D0A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488915" y="1078586"/>
              <a:ext cx="375644" cy="250429"/>
            </a:xfrm>
            <a:prstGeom prst="rect">
              <a:avLst/>
            </a:prstGeom>
          </p:spPr>
        </p:pic>
        <p:sp>
          <p:nvSpPr>
            <p:cNvPr id="32" name="Text Placeholder 4">
              <a:extLst>
                <a:ext uri="{FF2B5EF4-FFF2-40B4-BE49-F238E27FC236}">
                  <a16:creationId xmlns:a16="http://schemas.microsoft.com/office/drawing/2014/main" id="{E88AF234-4FF0-1AAF-F921-168F06A79CE7}"/>
                </a:ext>
              </a:extLst>
            </p:cNvPr>
            <p:cNvSpPr txBox="1">
              <a:spLocks/>
            </p:cNvSpPr>
            <p:nvPr/>
          </p:nvSpPr>
          <p:spPr>
            <a:xfrm>
              <a:off x="1375553" y="984323"/>
              <a:ext cx="6380309" cy="479189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b="1" dirty="0">
                  <a:latin typeface="Hurme Geometric Sans 4 SemiBold" panose="020B0A00020000000000" pitchFamily="34" charset="77"/>
                  <a:sym typeface="Wingdings" pitchFamily="2" charset="2"/>
                </a:rPr>
                <a:t>Definition of Depth Function in </a:t>
              </a:r>
            </a:p>
          </p:txBody>
        </p:sp>
      </p:grpSp>
      <p:pic>
        <p:nvPicPr>
          <p:cNvPr id="4" name="Image 3" descr="Une image contenant diagramme&#10;&#10;Description générée automatiquement">
            <a:extLst>
              <a:ext uri="{FF2B5EF4-FFF2-40B4-BE49-F238E27FC236}">
                <a16:creationId xmlns:a16="http://schemas.microsoft.com/office/drawing/2014/main" id="{8CE56AD8-13F2-4F1D-2077-2BFFAD39011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1" r="1099" b="1086"/>
          <a:stretch/>
        </p:blipFill>
        <p:spPr>
          <a:xfrm>
            <a:off x="8947108" y="1668203"/>
            <a:ext cx="2023002" cy="2023282"/>
          </a:xfrm>
          <a:prstGeom prst="rect">
            <a:avLst/>
          </a:prstGeom>
        </p:spPr>
      </p:pic>
      <p:sp>
        <p:nvSpPr>
          <p:cNvPr id="8" name="Étoile à 5 branches 7">
            <a:extLst>
              <a:ext uri="{FF2B5EF4-FFF2-40B4-BE49-F238E27FC236}">
                <a16:creationId xmlns:a16="http://schemas.microsoft.com/office/drawing/2014/main" id="{A208862B-67A0-718C-6F32-D764386E52D3}"/>
              </a:ext>
            </a:extLst>
          </p:cNvPr>
          <p:cNvSpPr>
            <a:spLocks noChangeAspect="1"/>
          </p:cNvSpPr>
          <p:nvPr/>
        </p:nvSpPr>
        <p:spPr>
          <a:xfrm>
            <a:off x="8031295" y="4510843"/>
            <a:ext cx="1720602" cy="1720602"/>
          </a:xfrm>
          <a:prstGeom prst="star5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372461EF-672D-66B1-64DD-28A47D0771AF}"/>
              </a:ext>
            </a:extLst>
          </p:cNvPr>
          <p:cNvSpPr txBox="1"/>
          <p:nvPr/>
        </p:nvSpPr>
        <p:spPr>
          <a:xfrm>
            <a:off x="8722319" y="5325865"/>
            <a:ext cx="3385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/>
              <a:t>ⅹ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E72BF44A-09CF-9F76-343F-F5B9359F9EFF}"/>
              </a:ext>
            </a:extLst>
          </p:cNvPr>
          <p:cNvSpPr txBox="1"/>
          <p:nvPr/>
        </p:nvSpPr>
        <p:spPr>
          <a:xfrm>
            <a:off x="8787766" y="5448975"/>
            <a:ext cx="8351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HurmeGeometricSans1 Regular" panose="020B0500020000000000" pitchFamily="34" charset="77"/>
              </a:rPr>
              <a:t>center</a:t>
            </a:r>
            <a:endParaRPr lang="fr-FR" sz="1400" dirty="0">
              <a:latin typeface="HurmeGeometricSans1 Regular" panose="020B0500020000000000" pitchFamily="34" charset="77"/>
            </a:endParaRPr>
          </a:p>
        </p:txBody>
      </p:sp>
      <p:grpSp>
        <p:nvGrpSpPr>
          <p:cNvPr id="57" name="Groupe 56">
            <a:extLst>
              <a:ext uri="{FF2B5EF4-FFF2-40B4-BE49-F238E27FC236}">
                <a16:creationId xmlns:a16="http://schemas.microsoft.com/office/drawing/2014/main" id="{2763CD04-00C7-DE55-D585-561F546A4E1F}"/>
              </a:ext>
            </a:extLst>
          </p:cNvPr>
          <p:cNvGrpSpPr/>
          <p:nvPr/>
        </p:nvGrpSpPr>
        <p:grpSpPr>
          <a:xfrm>
            <a:off x="7656240" y="5493770"/>
            <a:ext cx="729411" cy="187325"/>
            <a:chOff x="7656240" y="5493770"/>
            <a:chExt cx="729411" cy="187325"/>
          </a:xfrm>
        </p:grpSpPr>
        <p:pic>
          <p:nvPicPr>
            <p:cNvPr id="50" name="Image 49">
              <a:extLst>
                <a:ext uri="{FF2B5EF4-FFF2-40B4-BE49-F238E27FC236}">
                  <a16:creationId xmlns:a16="http://schemas.microsoft.com/office/drawing/2014/main" id="{17A89A7A-EC08-1F57-919F-CB7E0A944A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937684" y="5513035"/>
              <a:ext cx="139700" cy="127000"/>
            </a:xfrm>
            <a:prstGeom prst="rect">
              <a:avLst/>
            </a:prstGeom>
          </p:spPr>
        </p:pic>
        <p:pic>
          <p:nvPicPr>
            <p:cNvPr id="53" name="Image 52">
              <a:extLst>
                <a:ext uri="{FF2B5EF4-FFF2-40B4-BE49-F238E27FC236}">
                  <a16:creationId xmlns:a16="http://schemas.microsoft.com/office/drawing/2014/main" id="{0D53AC51-F2D4-2D35-C311-1A5B4CDD64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656240" y="5493770"/>
              <a:ext cx="241300" cy="177800"/>
            </a:xfrm>
            <a:prstGeom prst="rect">
              <a:avLst/>
            </a:prstGeom>
          </p:spPr>
        </p:pic>
        <p:pic>
          <p:nvPicPr>
            <p:cNvPr id="54" name="Image 53">
              <a:extLst>
                <a:ext uri="{FF2B5EF4-FFF2-40B4-BE49-F238E27FC236}">
                  <a16:creationId xmlns:a16="http://schemas.microsoft.com/office/drawing/2014/main" id="{10A18E7C-9C80-7C72-6264-37EE097A8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131651" y="5503295"/>
              <a:ext cx="254000" cy="177800"/>
            </a:xfrm>
            <a:prstGeom prst="rect">
              <a:avLst/>
            </a:prstGeom>
          </p:spPr>
        </p:pic>
      </p:grpSp>
      <p:grpSp>
        <p:nvGrpSpPr>
          <p:cNvPr id="58" name="Groupe 57">
            <a:extLst>
              <a:ext uri="{FF2B5EF4-FFF2-40B4-BE49-F238E27FC236}">
                <a16:creationId xmlns:a16="http://schemas.microsoft.com/office/drawing/2014/main" id="{2EB69F34-1E50-49CE-6BAE-2E2F761F9E24}"/>
              </a:ext>
            </a:extLst>
          </p:cNvPr>
          <p:cNvGrpSpPr/>
          <p:nvPr/>
        </p:nvGrpSpPr>
        <p:grpSpPr>
          <a:xfrm>
            <a:off x="9132911" y="4707001"/>
            <a:ext cx="743994" cy="191796"/>
            <a:chOff x="9132911" y="4707001"/>
            <a:chExt cx="743994" cy="191796"/>
          </a:xfrm>
        </p:grpSpPr>
        <p:pic>
          <p:nvPicPr>
            <p:cNvPr id="49" name="Image 48">
              <a:extLst>
                <a:ext uri="{FF2B5EF4-FFF2-40B4-BE49-F238E27FC236}">
                  <a16:creationId xmlns:a16="http://schemas.microsoft.com/office/drawing/2014/main" id="{9E37A83D-8DFA-5006-7657-49877875F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430039" y="4738609"/>
              <a:ext cx="139700" cy="127000"/>
            </a:xfrm>
            <a:prstGeom prst="rect">
              <a:avLst/>
            </a:prstGeom>
          </p:spPr>
        </p:pic>
        <p:pic>
          <p:nvPicPr>
            <p:cNvPr id="55" name="Image 54">
              <a:extLst>
                <a:ext uri="{FF2B5EF4-FFF2-40B4-BE49-F238E27FC236}">
                  <a16:creationId xmlns:a16="http://schemas.microsoft.com/office/drawing/2014/main" id="{E6A6A1FF-36F1-63F3-D6D1-B7968BBE3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132911" y="4707001"/>
              <a:ext cx="254000" cy="177800"/>
            </a:xfrm>
            <a:prstGeom prst="rect">
              <a:avLst/>
            </a:prstGeom>
          </p:spPr>
        </p:pic>
        <p:pic>
          <p:nvPicPr>
            <p:cNvPr id="56" name="Image 55">
              <a:extLst>
                <a:ext uri="{FF2B5EF4-FFF2-40B4-BE49-F238E27FC236}">
                  <a16:creationId xmlns:a16="http://schemas.microsoft.com/office/drawing/2014/main" id="{DE9C2A78-D070-AABF-E8EA-2543D5A24A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622905" y="4720997"/>
              <a:ext cx="254000" cy="177800"/>
            </a:xfrm>
            <a:prstGeom prst="rect">
              <a:avLst/>
            </a:prstGeom>
          </p:spPr>
        </p:pic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CBCAFDC-7EA7-58EF-FD78-58B045C44D98}"/>
              </a:ext>
            </a:extLst>
          </p:cNvPr>
          <p:cNvSpPr txBox="1">
            <a:spLocks/>
          </p:cNvSpPr>
          <p:nvPr/>
        </p:nvSpPr>
        <p:spPr>
          <a:xfrm>
            <a:off x="6602152" y="3993583"/>
            <a:ext cx="1740685" cy="6042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itchFamily="2" charset="2"/>
              <a:buChar char="à"/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  <a:sym typeface="Wingdings" pitchFamily="2" charset="2"/>
              </a:rPr>
              <a:t>simple but too restrictive</a:t>
            </a:r>
          </a:p>
          <a:p>
            <a:pPr marL="285750" indent="-285750">
              <a:buFont typeface="Wingdings" pitchFamily="2" charset="2"/>
              <a:buChar char="à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52058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Depth Function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A50BE4-118F-45E2-A27D-4DB48AD15F1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01713" y="1666317"/>
            <a:ext cx="3099639" cy="431173"/>
          </a:xfrm>
        </p:spPr>
        <p:txBody>
          <a:bodyPr/>
          <a:lstStyle/>
          <a:p>
            <a:r>
              <a:rPr lang="en-US" sz="1600" b="1" u="sng" dirty="0"/>
              <a:t>Our candidate depth function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237CED1-6ABF-814F-8815-30CBB0A450CF}"/>
              </a:ext>
            </a:extLst>
          </p:cNvPr>
          <p:cNvSpPr/>
          <p:nvPr/>
        </p:nvSpPr>
        <p:spPr>
          <a:xfrm>
            <a:off x="1243473" y="2231881"/>
            <a:ext cx="2689412" cy="376349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782284C1-F1ED-3D42-9234-803E9198AFFE}"/>
              </a:ext>
            </a:extLst>
          </p:cNvPr>
          <p:cNvSpPr txBox="1">
            <a:spLocks/>
          </p:cNvSpPr>
          <p:nvPr/>
        </p:nvSpPr>
        <p:spPr>
          <a:xfrm>
            <a:off x="991987" y="2927992"/>
            <a:ext cx="3099639" cy="431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Does it satisfy the axioms?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FB05E6F-DAAC-D74B-8462-B966DA90F002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Candidate Depth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D8691B2-55BF-9E08-10D8-58BE6E504364}"/>
              </a:ext>
            </a:extLst>
          </p:cNvPr>
          <p:cNvSpPr txBox="1">
            <a:spLocks/>
          </p:cNvSpPr>
          <p:nvPr/>
        </p:nvSpPr>
        <p:spPr>
          <a:xfrm>
            <a:off x="3986673" y="2237263"/>
            <a:ext cx="2882241" cy="431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ym typeface="Wingdings" pitchFamily="2" charset="2"/>
              </a:rPr>
              <a:t> Opposite of the los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8B4DDF2-6E36-BC7A-6250-BBB4E03C345C}"/>
              </a:ext>
            </a:extLst>
          </p:cNvPr>
          <p:cNvSpPr txBox="1">
            <a:spLocks/>
          </p:cNvSpPr>
          <p:nvPr/>
        </p:nvSpPr>
        <p:spPr>
          <a:xfrm>
            <a:off x="1243472" y="3416035"/>
            <a:ext cx="9495647" cy="22227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Yes, but…</a:t>
            </a:r>
            <a:r>
              <a:rPr lang="en-US" dirty="0">
                <a:sym typeface="Wingdings" pitchFamily="2" charset="2"/>
              </a:rPr>
              <a:t> depends on the distribution       it must be </a:t>
            </a:r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smooth enough</a:t>
            </a:r>
          </a:p>
          <a:p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Stochastic Transitivity: </a:t>
            </a:r>
            <a:r>
              <a:rPr lang="en-US" dirty="0">
                <a:sym typeface="Wingdings" pitchFamily="2" charset="2"/>
              </a:rPr>
              <a:t>if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sym typeface="Wingdings" pitchFamily="2" charset="2"/>
              </a:rPr>
              <a:t>juice</a:t>
            </a:r>
            <a:r>
              <a:rPr lang="en-US" dirty="0">
                <a:sym typeface="Wingdings" pitchFamily="2" charset="2"/>
              </a:rPr>
              <a:t> is better than 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  <a:sym typeface="Wingdings" pitchFamily="2" charset="2"/>
              </a:rPr>
              <a:t>tea</a:t>
            </a:r>
            <a:r>
              <a:rPr lang="en-US" dirty="0">
                <a:sym typeface="Wingdings" pitchFamily="2" charset="2"/>
              </a:rPr>
              <a:t>, and </a:t>
            </a:r>
            <a:r>
              <a:rPr lang="en-US" dirty="0">
                <a:solidFill>
                  <a:schemeClr val="accent5">
                    <a:lumMod val="50000"/>
                  </a:schemeClr>
                </a:solidFill>
                <a:sym typeface="Wingdings" pitchFamily="2" charset="2"/>
              </a:rPr>
              <a:t>tea</a:t>
            </a:r>
            <a:r>
              <a:rPr lang="en-US" dirty="0">
                <a:sym typeface="Wingdings" pitchFamily="2" charset="2"/>
              </a:rPr>
              <a:t> is better than 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sym typeface="Wingdings" pitchFamily="2" charset="2"/>
              </a:rPr>
              <a:t>coffee</a:t>
            </a:r>
            <a:r>
              <a:rPr lang="en-US" dirty="0">
                <a:sym typeface="Wingdings" pitchFamily="2" charset="2"/>
              </a:rPr>
              <a:t>, then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sym typeface="Wingdings" pitchFamily="2" charset="2"/>
              </a:rPr>
              <a:t>juice</a:t>
            </a:r>
            <a:r>
              <a:rPr lang="en-US" dirty="0">
                <a:sym typeface="Wingdings" pitchFamily="2" charset="2"/>
              </a:rPr>
              <a:t> must be better than 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sym typeface="Wingdings" pitchFamily="2" charset="2"/>
              </a:rPr>
              <a:t>coffee</a:t>
            </a:r>
          </a:p>
          <a:p>
            <a:pPr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		  No cycle</a:t>
            </a:r>
          </a:p>
          <a:p>
            <a:pPr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		  Must hold for all groups of 3 items. Not as restrictive as it could seems.</a:t>
            </a:r>
          </a:p>
          <a:p>
            <a:pPr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		</a:t>
            </a:r>
            <a:r>
              <a:rPr lang="en-US" dirty="0" err="1">
                <a:sym typeface="Wingdings" pitchFamily="2" charset="2"/>
              </a:rPr>
              <a:t>Maths</a:t>
            </a:r>
            <a:r>
              <a:rPr lang="en-US" dirty="0">
                <a:sym typeface="Wingdings" pitchFamily="2" charset="2"/>
              </a:rPr>
              <a:t>: </a:t>
            </a:r>
          </a:p>
          <a:p>
            <a:pPr>
              <a:spcBef>
                <a:spcPts val="0"/>
              </a:spcBef>
            </a:pPr>
            <a:endParaRPr lang="en-US" dirty="0">
              <a:sym typeface="Wingdings" pitchFamily="2" charset="2"/>
            </a:endParaRPr>
          </a:p>
          <a:p>
            <a:pPr>
              <a:spcBef>
                <a:spcPts val="0"/>
              </a:spcBef>
            </a:pPr>
            <a:endParaRPr lang="en-US" dirty="0">
              <a:sym typeface="Wingdings" pitchFamily="2" charset="2"/>
            </a:endParaRPr>
          </a:p>
          <a:p>
            <a:pPr>
              <a:spcBef>
                <a:spcPts val="0"/>
              </a:spcBef>
            </a:pPr>
            <a:r>
              <a:rPr lang="fr-FR" sz="1400" dirty="0">
                <a:latin typeface="HurmeGeometricSans1 Regular" panose="020B0500020000000000" pitchFamily="34" charset="77"/>
                <a:sym typeface="Wingdings" pitchFamily="2" charset="2"/>
              </a:rPr>
              <a:t>For ST distributions </a:t>
            </a:r>
            <a:r>
              <a:rPr lang="fr-FR" sz="1400" dirty="0" err="1">
                <a:latin typeface="HurmeGeometricSans1 Regular" panose="020B0500020000000000" pitchFamily="34" charset="77"/>
                <a:sym typeface="Wingdings" pitchFamily="2" charset="2"/>
              </a:rPr>
              <a:t>our</a:t>
            </a:r>
            <a:r>
              <a:rPr lang="fr-FR" sz="1400" dirty="0">
                <a:latin typeface="HurmeGeometricSans1 Regular" panose="020B0500020000000000" pitchFamily="34" charset="77"/>
                <a:sym typeface="Wingdings" pitchFamily="2" charset="2"/>
              </a:rPr>
              <a:t> Kendall-tau </a:t>
            </a:r>
            <a:r>
              <a:rPr lang="fr-FR" sz="1400" dirty="0" err="1">
                <a:latin typeface="HurmeGeometricSans1 Regular" panose="020B0500020000000000" pitchFamily="34" charset="77"/>
                <a:sym typeface="Wingdings" pitchFamily="2" charset="2"/>
              </a:rPr>
              <a:t>based</a:t>
            </a:r>
            <a:r>
              <a:rPr lang="fr-FR" sz="1400" dirty="0">
                <a:latin typeface="HurmeGeometricSans1 Regular" panose="020B0500020000000000" pitchFamily="34" charset="77"/>
                <a:sym typeface="Wingdings" pitchFamily="2" charset="2"/>
              </a:rPr>
              <a:t> </a:t>
            </a:r>
            <a:r>
              <a:rPr lang="fr-FR" sz="1400" dirty="0" err="1">
                <a:solidFill>
                  <a:schemeClr val="tx2"/>
                </a:solidFill>
                <a:latin typeface="HurmeGeometricSans1 Regular" panose="020B0500020000000000" pitchFamily="34" charset="77"/>
                <a:sym typeface="Wingdings" pitchFamily="2" charset="2"/>
              </a:rPr>
              <a:t>depth</a:t>
            </a:r>
            <a:r>
              <a:rPr lang="fr-FR" sz="1400" dirty="0">
                <a:solidFill>
                  <a:schemeClr val="tx2"/>
                </a:solidFill>
                <a:latin typeface="HurmeGeometricSans1 Regular" panose="020B0500020000000000" pitchFamily="34" charset="77"/>
                <a:sym typeface="Wingdings" pitchFamily="2" charset="2"/>
              </a:rPr>
              <a:t> </a:t>
            </a:r>
            <a:r>
              <a:rPr lang="fr-FR" sz="1400" dirty="0" err="1">
                <a:solidFill>
                  <a:schemeClr val="tx2"/>
                </a:solidFill>
                <a:latin typeface="HurmeGeometricSans1 Regular" panose="020B0500020000000000" pitchFamily="34" charset="77"/>
                <a:sym typeface="Wingdings" pitchFamily="2" charset="2"/>
              </a:rPr>
              <a:t>satisfy</a:t>
            </a:r>
            <a:r>
              <a:rPr lang="fr-FR" sz="1400" dirty="0">
                <a:solidFill>
                  <a:schemeClr val="tx2"/>
                </a:solidFill>
                <a:latin typeface="HurmeGeometricSans1 Regular" panose="020B0500020000000000" pitchFamily="34" charset="77"/>
                <a:sym typeface="Wingdings" pitchFamily="2" charset="2"/>
              </a:rPr>
              <a:t> all the </a:t>
            </a:r>
            <a:r>
              <a:rPr lang="fr-FR" sz="1400" dirty="0" err="1">
                <a:solidFill>
                  <a:schemeClr val="tx2"/>
                </a:solidFill>
                <a:latin typeface="HurmeGeometricSans1 Regular" panose="020B0500020000000000" pitchFamily="34" charset="77"/>
                <a:sym typeface="Wingdings" pitchFamily="2" charset="2"/>
              </a:rPr>
              <a:t>previous</a:t>
            </a:r>
            <a:r>
              <a:rPr lang="fr-FR" sz="1400" dirty="0">
                <a:solidFill>
                  <a:schemeClr val="tx2"/>
                </a:solidFill>
                <a:latin typeface="HurmeGeometricSans1 Regular" panose="020B0500020000000000" pitchFamily="34" charset="77"/>
                <a:sym typeface="Wingdings" pitchFamily="2" charset="2"/>
              </a:rPr>
              <a:t> </a:t>
            </a:r>
            <a:r>
              <a:rPr lang="fr-FR" sz="1400" dirty="0" err="1">
                <a:solidFill>
                  <a:schemeClr val="tx2"/>
                </a:solidFill>
                <a:latin typeface="HurmeGeometricSans1 Regular" panose="020B0500020000000000" pitchFamily="34" charset="77"/>
                <a:sym typeface="Wingdings" pitchFamily="2" charset="2"/>
              </a:rPr>
              <a:t>axioms</a:t>
            </a:r>
            <a:endParaRPr lang="fr-FR" sz="1400" dirty="0">
              <a:solidFill>
                <a:schemeClr val="tx2"/>
              </a:solidFill>
              <a:latin typeface="HurmeGeometricSans1 Regular" panose="020B0500020000000000" pitchFamily="34" charset="77"/>
              <a:sym typeface="Wingdings" pitchFamily="2" charset="2"/>
            </a:endParaRPr>
          </a:p>
          <a:p>
            <a:pPr>
              <a:spcBef>
                <a:spcPts val="0"/>
              </a:spcBef>
            </a:pPr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E12D0CFD-9ABF-DAB4-5635-E2FFB582E6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4231" y="3518459"/>
            <a:ext cx="152400" cy="152400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2827CFF5-97BB-B18D-9AA4-66ABFDB685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5691" y="4596678"/>
            <a:ext cx="5346700" cy="2286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4D157793-00CF-988F-886A-DB276465B3C8}"/>
              </a:ext>
            </a:extLst>
          </p:cNvPr>
          <p:cNvSpPr/>
          <p:nvPr/>
        </p:nvSpPr>
        <p:spPr>
          <a:xfrm>
            <a:off x="1243473" y="5244639"/>
            <a:ext cx="6613405" cy="43346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BE31219-E5D7-60CE-71AE-FEE514FBDE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5479" y="2274793"/>
            <a:ext cx="256540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79351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Depth Function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A50BE4-118F-45E2-A27D-4DB48AD15F1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01713" y="1639423"/>
            <a:ext cx="3099639" cy="431173"/>
          </a:xfrm>
        </p:spPr>
        <p:txBody>
          <a:bodyPr/>
          <a:lstStyle/>
          <a:p>
            <a:r>
              <a:rPr lang="en-US" b="1" u="sng" dirty="0"/>
              <a:t>Statistics based on depth</a:t>
            </a:r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12A347E-A605-7644-9BC9-A16F8079AB43}"/>
              </a:ext>
            </a:extLst>
          </p:cNvPr>
          <p:cNvSpPr txBox="1">
            <a:spLocks/>
          </p:cNvSpPr>
          <p:nvPr/>
        </p:nvSpPr>
        <p:spPr>
          <a:xfrm>
            <a:off x="991987" y="2070596"/>
            <a:ext cx="3099639" cy="431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pth regions and contours: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6646BB5-7350-B441-A57A-A3E1CC1D0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7631" y="2166694"/>
            <a:ext cx="4356100" cy="190500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8B9A033-3826-C642-8CA1-01E85AC3A318}"/>
              </a:ext>
            </a:extLst>
          </p:cNvPr>
          <p:cNvSpPr txBox="1">
            <a:spLocks/>
          </p:cNvSpPr>
          <p:nvPr/>
        </p:nvSpPr>
        <p:spPr>
          <a:xfrm>
            <a:off x="991987" y="2395702"/>
            <a:ext cx="3099639" cy="431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pth survivor function: 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5FB36AA-4458-9C41-A0C5-B6AB7FE8DC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5709" y="2470433"/>
            <a:ext cx="2197100" cy="190500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88A7973-3748-A342-B2A8-14B0DB7A4F4C}"/>
              </a:ext>
            </a:extLst>
          </p:cNvPr>
          <p:cNvSpPr txBox="1">
            <a:spLocks/>
          </p:cNvSpPr>
          <p:nvPr/>
        </p:nvSpPr>
        <p:spPr>
          <a:xfrm>
            <a:off x="1001713" y="2720808"/>
            <a:ext cx="3099639" cy="431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Quantile regions: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07E823E-1FE2-F444-99CE-C07D7BF0C3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58781" y="2815403"/>
            <a:ext cx="3937000" cy="190500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FB9CA37-180A-874C-86A9-DD40D9503ED6}"/>
              </a:ext>
            </a:extLst>
          </p:cNvPr>
          <p:cNvSpPr txBox="1">
            <a:spLocks/>
          </p:cNvSpPr>
          <p:nvPr/>
        </p:nvSpPr>
        <p:spPr>
          <a:xfrm>
            <a:off x="991987" y="3439994"/>
            <a:ext cx="7745613" cy="728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u="sng" dirty="0"/>
              <a:t>Statistical Learning</a:t>
            </a:r>
            <a:r>
              <a:rPr lang="en-US" dirty="0"/>
              <a:t>: we can </a:t>
            </a:r>
            <a:r>
              <a:rPr lang="en-US" dirty="0">
                <a:solidFill>
                  <a:schemeClr val="tx2"/>
                </a:solidFill>
              </a:rPr>
              <a:t>bound</a:t>
            </a:r>
            <a:r>
              <a:rPr lang="en-US" dirty="0"/>
              <a:t> the difference between the </a:t>
            </a:r>
            <a:r>
              <a:rPr lang="en-US" dirty="0">
                <a:solidFill>
                  <a:schemeClr val="tx2"/>
                </a:solidFill>
              </a:rPr>
              <a:t>theoretical</a:t>
            </a:r>
            <a:r>
              <a:rPr lang="en-US" dirty="0"/>
              <a:t> statistics and their </a:t>
            </a:r>
            <a:r>
              <a:rPr lang="en-US" dirty="0">
                <a:solidFill>
                  <a:schemeClr val="tx2"/>
                </a:solidFill>
              </a:rPr>
              <a:t>empirical counterparts </a:t>
            </a:r>
            <a:r>
              <a:rPr lang="en-US" dirty="0">
                <a:sym typeface="Wingdings" pitchFamily="2" charset="2"/>
              </a:rPr>
              <a:t> Takeaway: we can use the depth function </a:t>
            </a:r>
            <a:r>
              <a:rPr lang="en-US" dirty="0">
                <a:solidFill>
                  <a:schemeClr val="tx2"/>
                </a:solidFill>
                <a:sym typeface="Wingdings" pitchFamily="2" charset="2"/>
              </a:rPr>
              <a:t>in practice</a:t>
            </a:r>
            <a:endParaRPr lang="en-US" b="1" u="sng" dirty="0">
              <a:solidFill>
                <a:schemeClr val="tx2"/>
              </a:solidFill>
            </a:endParaRP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EC0CA550-AD77-AC45-A04C-F6EC74312AEA}"/>
              </a:ext>
            </a:extLst>
          </p:cNvPr>
          <p:cNvGrpSpPr/>
          <p:nvPr/>
        </p:nvGrpSpPr>
        <p:grpSpPr>
          <a:xfrm>
            <a:off x="2658781" y="4057264"/>
            <a:ext cx="6810792" cy="469900"/>
            <a:chOff x="2349500" y="4554803"/>
            <a:chExt cx="6810792" cy="469900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33D205DE-8C65-4145-BC36-06B9F12B5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349500" y="4722876"/>
              <a:ext cx="3136900" cy="190500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9C936D7D-F105-6A4C-93C0-66235EC7C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05892" y="4554803"/>
              <a:ext cx="3454400" cy="469900"/>
            </a:xfrm>
            <a:prstGeom prst="rect">
              <a:avLst/>
            </a:prstGeom>
          </p:spPr>
        </p:pic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9EF2ED67-C7B9-C949-A7A8-A0138FEF4E8B}"/>
              </a:ext>
            </a:extLst>
          </p:cNvPr>
          <p:cNvGrpSpPr/>
          <p:nvPr/>
        </p:nvGrpSpPr>
        <p:grpSpPr>
          <a:xfrm>
            <a:off x="2806698" y="4614440"/>
            <a:ext cx="7775992" cy="469900"/>
            <a:chOff x="2349500" y="5098380"/>
            <a:chExt cx="7775992" cy="469900"/>
          </a:xfrm>
        </p:grpSpPr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7B58773E-50C8-1342-BCDE-86BC6913400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349500" y="5276725"/>
              <a:ext cx="3136900" cy="190500"/>
            </a:xfrm>
            <a:prstGeom prst="rect">
              <a:avLst/>
            </a:prstGeom>
          </p:spPr>
        </p:pic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07119C75-1118-0D4C-80ED-AC74A9D8A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05892" y="5098380"/>
              <a:ext cx="4419600" cy="469900"/>
            </a:xfrm>
            <a:prstGeom prst="rect">
              <a:avLst/>
            </a:prstGeom>
          </p:spPr>
        </p:pic>
      </p:grpSp>
      <p:pic>
        <p:nvPicPr>
          <p:cNvPr id="18" name="Image 17">
            <a:extLst>
              <a:ext uri="{FF2B5EF4-FFF2-40B4-BE49-F238E27FC236}">
                <a16:creationId xmlns:a16="http://schemas.microsoft.com/office/drawing/2014/main" id="{BBB9DDAD-E9A3-BA49-A23F-78252DB1951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06698" y="5108982"/>
            <a:ext cx="2832100" cy="215900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9CBD58D-2CDE-5246-B55C-9E019C6C194B}"/>
              </a:ext>
            </a:extLst>
          </p:cNvPr>
          <p:cNvSpPr txBox="1">
            <a:spLocks/>
          </p:cNvSpPr>
          <p:nvPr/>
        </p:nvSpPr>
        <p:spPr>
          <a:xfrm>
            <a:off x="1001713" y="4128249"/>
            <a:ext cx="3099639" cy="431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epth function: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48A32047-C2AA-F741-A221-0DF84A259AAE}"/>
              </a:ext>
            </a:extLst>
          </p:cNvPr>
          <p:cNvSpPr txBox="1">
            <a:spLocks/>
          </p:cNvSpPr>
          <p:nvPr/>
        </p:nvSpPr>
        <p:spPr>
          <a:xfrm>
            <a:off x="1002647" y="4687949"/>
            <a:ext cx="3099639" cy="431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rvivor function: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88FBE093-8D87-DC73-6226-BA6E6E4A23FA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Depth Related Statistics</a:t>
            </a:r>
          </a:p>
        </p:txBody>
      </p:sp>
      <p:pic>
        <p:nvPicPr>
          <p:cNvPr id="6" name="Image 5" descr="Une image contenant diagramme&#10;&#10;Description générée automatiquement">
            <a:extLst>
              <a:ext uri="{FF2B5EF4-FFF2-40B4-BE49-F238E27FC236}">
                <a16:creationId xmlns:a16="http://schemas.microsoft.com/office/drawing/2014/main" id="{2B377F71-C1D8-48D8-11A7-C4DA4AF734D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-1" r="1099" b="1086"/>
          <a:stretch/>
        </p:blipFill>
        <p:spPr>
          <a:xfrm>
            <a:off x="8916801" y="1108077"/>
            <a:ext cx="2023002" cy="2023282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E120104-65E1-A090-8FC6-79C9930B94B8}"/>
              </a:ext>
            </a:extLst>
          </p:cNvPr>
          <p:cNvSpPr txBox="1">
            <a:spLocks/>
          </p:cNvSpPr>
          <p:nvPr/>
        </p:nvSpPr>
        <p:spPr>
          <a:xfrm>
            <a:off x="1006153" y="5391893"/>
            <a:ext cx="3099639" cy="431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Quantile regions:  similar results</a:t>
            </a:r>
          </a:p>
        </p:txBody>
      </p:sp>
    </p:spTree>
    <p:extLst>
      <p:ext uri="{BB962C8B-B14F-4D97-AF65-F5344CB8AC3E}">
        <p14:creationId xmlns:p14="http://schemas.microsoft.com/office/powerpoint/2010/main" val="12271493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Depth Function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Trimming: Using the depth to </a:t>
            </a:r>
            <a:r>
              <a:rPr lang="en-US" sz="1800" b="1" dirty="0" err="1">
                <a:latin typeface="Hurme Geometric Sans 4 SemiBold" panose="020B0A00020000000000" pitchFamily="34" charset="77"/>
                <a:sym typeface="Wingdings" pitchFamily="2" charset="2"/>
              </a:rPr>
              <a:t>robustify</a:t>
            </a:r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 the consensu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490A1FA-54A5-8BE7-CF43-E3689E6341C8}"/>
              </a:ext>
            </a:extLst>
          </p:cNvPr>
          <p:cNvSpPr txBox="1">
            <a:spLocks/>
          </p:cNvSpPr>
          <p:nvPr/>
        </p:nvSpPr>
        <p:spPr>
          <a:xfrm>
            <a:off x="991987" y="1616980"/>
            <a:ext cx="9422013" cy="38186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b="1" u="sng" dirty="0"/>
              <a:t>Robustness result (theoretical):</a:t>
            </a:r>
            <a:endParaRPr lang="en-US" sz="1600" b="1" u="sng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dirty="0"/>
              <a:t>The </a:t>
            </a:r>
            <a:r>
              <a:rPr lang="en-US" dirty="0">
                <a:solidFill>
                  <a:schemeClr val="tx2"/>
                </a:solidFill>
              </a:rPr>
              <a:t>breakdown point</a:t>
            </a:r>
            <a:r>
              <a:rPr lang="en-US" dirty="0"/>
              <a:t> for the </a:t>
            </a:r>
            <a:r>
              <a:rPr lang="en-US" dirty="0">
                <a:solidFill>
                  <a:schemeClr val="tx2"/>
                </a:solidFill>
              </a:rPr>
              <a:t>depth-trimmed </a:t>
            </a:r>
            <a:r>
              <a:rPr lang="en-US" dirty="0" err="1">
                <a:solidFill>
                  <a:schemeClr val="tx2"/>
                </a:solidFill>
              </a:rPr>
              <a:t>Borda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/>
              <a:t>statistics is </a:t>
            </a:r>
            <a:r>
              <a:rPr lang="en-US" dirty="0">
                <a:solidFill>
                  <a:schemeClr val="tx2"/>
                </a:solidFill>
              </a:rPr>
              <a:t>higher</a:t>
            </a:r>
            <a:r>
              <a:rPr lang="en-US" dirty="0"/>
              <a:t> than for the </a:t>
            </a:r>
            <a:r>
              <a:rPr lang="en-US" dirty="0">
                <a:solidFill>
                  <a:schemeClr val="tx2"/>
                </a:solidFill>
              </a:rPr>
              <a:t>classical </a:t>
            </a:r>
            <a:r>
              <a:rPr lang="en-US" dirty="0" err="1">
                <a:solidFill>
                  <a:schemeClr val="tx2"/>
                </a:solidFill>
              </a:rPr>
              <a:t>Borda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/>
              <a:t>statistics</a:t>
            </a:r>
          </a:p>
          <a:p>
            <a:pPr marL="742939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Borda</a:t>
            </a:r>
            <a:r>
              <a:rPr lang="en-US" dirty="0">
                <a:solidFill>
                  <a:schemeClr val="tx1"/>
                </a:solidFill>
              </a:rPr>
              <a:t> and </a:t>
            </a:r>
            <a:r>
              <a:rPr lang="en-US" dirty="0" err="1">
                <a:solidFill>
                  <a:schemeClr val="tx1"/>
                </a:solidFill>
              </a:rPr>
              <a:t>Kemeny’s</a:t>
            </a:r>
            <a:r>
              <a:rPr lang="en-US" dirty="0">
                <a:solidFill>
                  <a:schemeClr val="tx1"/>
                </a:solidFill>
              </a:rPr>
              <a:t> consensus can be linked (for specific distributions, they are the same)</a:t>
            </a:r>
          </a:p>
          <a:p>
            <a:pPr marL="742939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Borda</a:t>
            </a:r>
            <a:endParaRPr lang="en-US" dirty="0">
              <a:solidFill>
                <a:schemeClr val="tx1"/>
              </a:solidFill>
            </a:endParaRPr>
          </a:p>
          <a:p>
            <a:pPr marL="742939" lvl="1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epth-trimmed </a:t>
            </a:r>
            <a:r>
              <a:rPr lang="en-US" dirty="0" err="1">
                <a:solidFill>
                  <a:schemeClr val="tx1"/>
                </a:solidFill>
              </a:rPr>
              <a:t>Borda</a:t>
            </a:r>
            <a:r>
              <a:rPr lang="en-US" dirty="0">
                <a:solidFill>
                  <a:schemeClr val="tx1"/>
                </a:solidFill>
              </a:rPr>
              <a:t>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b="1" u="sng" dirty="0"/>
              <a:t>Practical idea – trimming algorithm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dirty="0">
                <a:solidFill>
                  <a:schemeClr val="tx2"/>
                </a:solidFill>
              </a:rPr>
              <a:t>Recursively</a:t>
            </a:r>
            <a:r>
              <a:rPr lang="en-US" dirty="0">
                <a:solidFill>
                  <a:schemeClr val="tx1"/>
                </a:solidFill>
              </a:rPr>
              <a:t> removing the least deep data point of our dataset. After trimming, compute </a:t>
            </a:r>
            <a:r>
              <a:rPr lang="en-US" dirty="0" err="1">
                <a:solidFill>
                  <a:schemeClr val="tx1"/>
                </a:solidFill>
              </a:rPr>
              <a:t>Kemeny’s</a:t>
            </a:r>
            <a:r>
              <a:rPr lang="en-US" dirty="0">
                <a:solidFill>
                  <a:schemeClr val="tx1"/>
                </a:solidFill>
              </a:rPr>
              <a:t> consensus</a:t>
            </a:r>
          </a:p>
          <a:p>
            <a:pPr marL="742939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enefit 1: improve the </a:t>
            </a:r>
            <a:r>
              <a:rPr lang="en-US" dirty="0"/>
              <a:t>robustness</a:t>
            </a:r>
            <a:r>
              <a:rPr lang="en-US" dirty="0">
                <a:solidFill>
                  <a:schemeClr val="tx1"/>
                </a:solidFill>
              </a:rPr>
              <a:t> (as shown with our theorical argument)</a:t>
            </a:r>
          </a:p>
          <a:p>
            <a:pPr marL="742939" lvl="1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enefit 2: extend results to </a:t>
            </a:r>
            <a:r>
              <a:rPr lang="en-US" dirty="0"/>
              <a:t>non-ST distributions </a:t>
            </a:r>
            <a:r>
              <a:rPr lang="en-US" dirty="0">
                <a:solidFill>
                  <a:schemeClr val="tx1"/>
                </a:solidFill>
              </a:rPr>
              <a:t>because after trimming sufficiently, every distributions will eventually be ST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F05C013-C555-5A03-187A-FB167EF0A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1900" y="2646412"/>
            <a:ext cx="3594100" cy="46990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B8F84860-31C8-3A59-D827-481E6C20F8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2220" y="3086154"/>
            <a:ext cx="5257800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66741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Depth Function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Experiment – Trimming algorithm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7" y="4759658"/>
            <a:ext cx="3925448" cy="12940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u="sng" dirty="0"/>
              <a:t>Explanation:</a:t>
            </a:r>
            <a:endParaRPr lang="en-US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accent2"/>
                </a:solidFill>
              </a:rPr>
              <a:t>Blue</a:t>
            </a:r>
            <a:r>
              <a:rPr lang="en-US" dirty="0"/>
              <a:t> points: original dataset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FF0000"/>
                </a:solidFill>
              </a:rPr>
              <a:t>Red</a:t>
            </a:r>
            <a:r>
              <a:rPr lang="en-US" dirty="0"/>
              <a:t> points: adversarial (bad) ranking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 </a:t>
            </a: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90A861C-0CF5-8923-83EB-99F00360E4B0}"/>
              </a:ext>
            </a:extLst>
          </p:cNvPr>
          <p:cNvCxnSpPr>
            <a:cxnSpLocks/>
          </p:cNvCxnSpPr>
          <p:nvPr/>
        </p:nvCxnSpPr>
        <p:spPr>
          <a:xfrm>
            <a:off x="4989990" y="4759658"/>
            <a:ext cx="0" cy="102341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995B659-6EED-5DA4-9993-F93B1EC33A2F}"/>
              </a:ext>
            </a:extLst>
          </p:cNvPr>
          <p:cNvSpPr txBox="1">
            <a:spLocks/>
          </p:cNvSpPr>
          <p:nvPr/>
        </p:nvSpPr>
        <p:spPr>
          <a:xfrm>
            <a:off x="5169891" y="4759658"/>
            <a:ext cx="4631286" cy="12940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u="sng" dirty="0"/>
              <a:t>Thanks to depth trimming:</a:t>
            </a:r>
            <a:endParaRPr lang="en-US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arenR"/>
            </a:pPr>
            <a:r>
              <a:rPr lang="en-US" dirty="0"/>
              <a:t>The distribution is now </a:t>
            </a:r>
            <a:r>
              <a:rPr lang="en-US" dirty="0">
                <a:solidFill>
                  <a:schemeClr val="tx2"/>
                </a:solidFill>
              </a:rPr>
              <a:t>ST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arenR"/>
            </a:pPr>
            <a:r>
              <a:rPr lang="en-US" dirty="0"/>
              <a:t>We have </a:t>
            </a:r>
            <a:r>
              <a:rPr lang="en-US" dirty="0">
                <a:solidFill>
                  <a:schemeClr val="tx2"/>
                </a:solidFill>
              </a:rPr>
              <a:t>removed</a:t>
            </a:r>
            <a:r>
              <a:rPr lang="en-US" dirty="0"/>
              <a:t> many </a:t>
            </a:r>
            <a:r>
              <a:rPr lang="en-US" dirty="0">
                <a:solidFill>
                  <a:schemeClr val="tx2"/>
                </a:solidFill>
              </a:rPr>
              <a:t>adversarial</a:t>
            </a:r>
            <a:r>
              <a:rPr lang="en-US" dirty="0"/>
              <a:t> rankings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arenR"/>
            </a:pPr>
            <a:r>
              <a:rPr lang="en-US" dirty="0"/>
              <a:t> The recovered </a:t>
            </a:r>
            <a:r>
              <a:rPr lang="en-US" dirty="0">
                <a:solidFill>
                  <a:schemeClr val="tx2"/>
                </a:solidFill>
              </a:rPr>
              <a:t>consensus</a:t>
            </a:r>
            <a:r>
              <a:rPr lang="en-US" dirty="0"/>
              <a:t> is much more </a:t>
            </a:r>
            <a:r>
              <a:rPr lang="en-US" dirty="0">
                <a:solidFill>
                  <a:schemeClr val="tx2"/>
                </a:solidFill>
              </a:rPr>
              <a:t>correct</a:t>
            </a:r>
            <a:endParaRPr lang="en-US" sz="1600" dirty="0">
              <a:solidFill>
                <a:schemeClr val="tx2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0" name="Encre 29">
                <a:extLst>
                  <a:ext uri="{FF2B5EF4-FFF2-40B4-BE49-F238E27FC236}">
                    <a16:creationId xmlns:a16="http://schemas.microsoft.com/office/drawing/2014/main" id="{605B595A-BDC2-0E74-2519-CF7E189EC8E8}"/>
                  </a:ext>
                </a:extLst>
              </p14:cNvPr>
              <p14:cNvContentPartPr/>
              <p14:nvPr/>
            </p14:nvContentPartPr>
            <p14:xfrm>
              <a:off x="8331080" y="1843920"/>
              <a:ext cx="650520" cy="15480"/>
            </p14:xfrm>
          </p:contentPart>
        </mc:Choice>
        <mc:Fallback xmlns="">
          <p:pic>
            <p:nvPicPr>
              <p:cNvPr id="30" name="Encre 29">
                <a:extLst>
                  <a:ext uri="{FF2B5EF4-FFF2-40B4-BE49-F238E27FC236}">
                    <a16:creationId xmlns:a16="http://schemas.microsoft.com/office/drawing/2014/main" id="{605B595A-BDC2-0E74-2519-CF7E189EC8E8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295080" y="1772280"/>
                <a:ext cx="722160" cy="159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31" name="Encre 30">
                <a:extLst>
                  <a:ext uri="{FF2B5EF4-FFF2-40B4-BE49-F238E27FC236}">
                    <a16:creationId xmlns:a16="http://schemas.microsoft.com/office/drawing/2014/main" id="{155B4A79-E41F-79E2-17A3-0D1C081D25F4}"/>
                  </a:ext>
                </a:extLst>
              </p14:cNvPr>
              <p14:cNvContentPartPr/>
              <p14:nvPr/>
            </p14:nvContentPartPr>
            <p14:xfrm>
              <a:off x="8981240" y="1854000"/>
              <a:ext cx="650520" cy="1097640"/>
            </p14:xfrm>
          </p:contentPart>
        </mc:Choice>
        <mc:Fallback xmlns="">
          <p:pic>
            <p:nvPicPr>
              <p:cNvPr id="31" name="Encre 30">
                <a:extLst>
                  <a:ext uri="{FF2B5EF4-FFF2-40B4-BE49-F238E27FC236}">
                    <a16:creationId xmlns:a16="http://schemas.microsoft.com/office/drawing/2014/main" id="{155B4A79-E41F-79E2-17A3-0D1C081D25F4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945600" y="1782000"/>
                <a:ext cx="722160" cy="124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32" name="Encre 31">
                <a:extLst>
                  <a:ext uri="{FF2B5EF4-FFF2-40B4-BE49-F238E27FC236}">
                    <a16:creationId xmlns:a16="http://schemas.microsoft.com/office/drawing/2014/main" id="{9F5A5E5F-F38D-1829-E86A-377377A93B20}"/>
                  </a:ext>
                </a:extLst>
              </p14:cNvPr>
              <p14:cNvContentPartPr/>
              <p14:nvPr/>
            </p14:nvContentPartPr>
            <p14:xfrm>
              <a:off x="9636440" y="2976480"/>
              <a:ext cx="767520" cy="86760"/>
            </p14:xfrm>
          </p:contentPart>
        </mc:Choice>
        <mc:Fallback xmlns="">
          <p:pic>
            <p:nvPicPr>
              <p:cNvPr id="32" name="Encre 31">
                <a:extLst>
                  <a:ext uri="{FF2B5EF4-FFF2-40B4-BE49-F238E27FC236}">
                    <a16:creationId xmlns:a16="http://schemas.microsoft.com/office/drawing/2014/main" id="{9F5A5E5F-F38D-1829-E86A-377377A93B20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9600800" y="2904840"/>
                <a:ext cx="839160" cy="230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33" name="Encre 32">
                <a:extLst>
                  <a:ext uri="{FF2B5EF4-FFF2-40B4-BE49-F238E27FC236}">
                    <a16:creationId xmlns:a16="http://schemas.microsoft.com/office/drawing/2014/main" id="{A1D7330D-4945-CAC6-F9D1-337E0B91B531}"/>
                  </a:ext>
                </a:extLst>
              </p14:cNvPr>
              <p14:cNvContentPartPr/>
              <p14:nvPr/>
            </p14:nvContentPartPr>
            <p14:xfrm>
              <a:off x="10408640" y="3037680"/>
              <a:ext cx="15840" cy="770040"/>
            </p14:xfrm>
          </p:contentPart>
        </mc:Choice>
        <mc:Fallback xmlns="">
          <p:pic>
            <p:nvPicPr>
              <p:cNvPr id="33" name="Encre 32">
                <a:extLst>
                  <a:ext uri="{FF2B5EF4-FFF2-40B4-BE49-F238E27FC236}">
                    <a16:creationId xmlns:a16="http://schemas.microsoft.com/office/drawing/2014/main" id="{A1D7330D-4945-CAC6-F9D1-337E0B91B531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10373000" y="2966040"/>
                <a:ext cx="87480" cy="913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34" name="Encre 33">
                <a:extLst>
                  <a:ext uri="{FF2B5EF4-FFF2-40B4-BE49-F238E27FC236}">
                    <a16:creationId xmlns:a16="http://schemas.microsoft.com/office/drawing/2014/main" id="{60A1B057-97F2-0A64-AFAB-061ECEDBE750}"/>
                  </a:ext>
                </a:extLst>
              </p14:cNvPr>
              <p14:cNvContentPartPr/>
              <p14:nvPr/>
            </p14:nvContentPartPr>
            <p14:xfrm>
              <a:off x="10424120" y="3753720"/>
              <a:ext cx="752040" cy="41040"/>
            </p14:xfrm>
          </p:contentPart>
        </mc:Choice>
        <mc:Fallback xmlns="">
          <p:pic>
            <p:nvPicPr>
              <p:cNvPr id="34" name="Encre 33">
                <a:extLst>
                  <a:ext uri="{FF2B5EF4-FFF2-40B4-BE49-F238E27FC236}">
                    <a16:creationId xmlns:a16="http://schemas.microsoft.com/office/drawing/2014/main" id="{60A1B057-97F2-0A64-AFAB-061ECEDBE750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10388120" y="3682080"/>
                <a:ext cx="823680" cy="184680"/>
              </a:xfrm>
              <a:prstGeom prst="rect">
                <a:avLst/>
              </a:prstGeom>
            </p:spPr>
          </p:pic>
        </mc:Fallback>
      </mc:AlternateContent>
      <p:pic>
        <p:nvPicPr>
          <p:cNvPr id="15" name="Image 14">
            <a:extLst>
              <a:ext uri="{FF2B5EF4-FFF2-40B4-BE49-F238E27FC236}">
                <a16:creationId xmlns:a16="http://schemas.microsoft.com/office/drawing/2014/main" id="{CA3E55EC-1523-7641-AF42-BA6281418F0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42561" y="1652296"/>
            <a:ext cx="11506877" cy="273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470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Depth Function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Conclusion about depth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6" y="1649197"/>
            <a:ext cx="9346830" cy="48119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Takeaways:</a:t>
            </a:r>
            <a:endParaRPr lang="en-US" sz="1600" b="1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AutoNum type="arabicParenR"/>
            </a:pPr>
            <a:r>
              <a:rPr lang="en-US" sz="1600" dirty="0"/>
              <a:t>Depth provide a </a:t>
            </a:r>
            <a:r>
              <a:rPr lang="en-US" sz="1600" dirty="0">
                <a:solidFill>
                  <a:schemeClr val="tx2"/>
                </a:solidFill>
              </a:rPr>
              <a:t>simple way </a:t>
            </a:r>
            <a:r>
              <a:rPr lang="en-US" sz="1600" dirty="0"/>
              <a:t>to compute </a:t>
            </a:r>
            <a:r>
              <a:rPr lang="en-US" sz="1600" dirty="0">
                <a:solidFill>
                  <a:schemeClr val="tx2"/>
                </a:solidFill>
              </a:rPr>
              <a:t>how central </a:t>
            </a:r>
            <a:r>
              <a:rPr lang="en-US" sz="1600" dirty="0"/>
              <a:t>or not a ranking is for a distribution / dataset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arenR"/>
            </a:pPr>
            <a:r>
              <a:rPr lang="en-US" sz="1600" dirty="0"/>
              <a:t>Trimming strategy based on depth </a:t>
            </a:r>
            <a:r>
              <a:rPr lang="en-US" sz="1600" dirty="0">
                <a:sym typeface="Wingdings" pitchFamily="2" charset="2"/>
              </a:rPr>
              <a:t>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improved robustness </a:t>
            </a:r>
            <a:r>
              <a:rPr lang="en-US" sz="1600" dirty="0">
                <a:sym typeface="Wingdings" pitchFamily="2" charset="2"/>
              </a:rPr>
              <a:t>for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all sorts of distributions </a:t>
            </a:r>
            <a:r>
              <a:rPr lang="en-US" sz="1600" dirty="0">
                <a:sym typeface="Wingdings" pitchFamily="2" charset="2"/>
              </a:rPr>
              <a:t>(non-ST)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arenR"/>
            </a:pP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Depth can be used for </a:t>
            </a:r>
            <a:r>
              <a:rPr lang="en-US" sz="1600" dirty="0">
                <a:sym typeface="Wingdings" pitchFamily="2" charset="2"/>
              </a:rPr>
              <a:t>various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other tasks </a:t>
            </a:r>
            <a:r>
              <a:rPr lang="en-US" sz="1600" dirty="0">
                <a:sym typeface="Wingdings" pitchFamily="2" charset="2"/>
              </a:rPr>
              <a:t>(graphical methods, homogeneity testing, etc.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Limitation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arenR"/>
            </a:pPr>
            <a:r>
              <a:rPr lang="en-US" sz="1600" dirty="0">
                <a:solidFill>
                  <a:schemeClr val="accent2"/>
                </a:solidFill>
              </a:rPr>
              <a:t>Computationally quite expensive </a:t>
            </a:r>
            <a:r>
              <a:rPr lang="en-US" sz="1600" dirty="0">
                <a:sym typeface="Wingdings" pitchFamily="2" charset="2"/>
              </a:rPr>
              <a:t>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		         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nb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 of iterations              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Kemeny’s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sym typeface="Wingdings" pitchFamily="2" charset="2"/>
              </a:rPr>
              <a:t> consensus complexity, her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ym typeface="Wingdings" pitchFamily="2" charset="2"/>
            </a:endParaRPr>
          </a:p>
          <a:p>
            <a:pPr marL="742939" lvl="1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Idea: </a:t>
            </a:r>
            <a:r>
              <a:rPr lang="en-US" sz="1600" dirty="0">
                <a:solidFill>
                  <a:schemeClr val="tx1"/>
                </a:solidFill>
              </a:rPr>
              <a:t>transport the depth from the ranking to the score space, perform SGD, and recover the corresponding ranking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2) </a:t>
            </a:r>
            <a:r>
              <a:rPr lang="en-US" sz="1600" dirty="0">
                <a:solidFill>
                  <a:schemeClr val="accent2"/>
                </a:solidFill>
              </a:rPr>
              <a:t>Practical evaluation </a:t>
            </a:r>
            <a:r>
              <a:rPr lang="en-US" sz="1600" dirty="0">
                <a:solidFill>
                  <a:schemeClr val="tx1"/>
                </a:solidFill>
              </a:rPr>
              <a:t>of the robustness gain, </a:t>
            </a:r>
            <a:r>
              <a:rPr lang="en-US" sz="1600" dirty="0" err="1">
                <a:solidFill>
                  <a:schemeClr val="tx1"/>
                </a:solidFill>
              </a:rPr>
              <a:t>i.e</a:t>
            </a:r>
            <a:r>
              <a:rPr lang="en-US" sz="1600" dirty="0">
                <a:solidFill>
                  <a:schemeClr val="tx1"/>
                </a:solidFill>
              </a:rPr>
              <a:t> what is the value of the breakdown functi</a:t>
            </a:r>
            <a:r>
              <a:rPr lang="en-US" sz="1600" dirty="0"/>
              <a:t>on?</a:t>
            </a: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9D4EE93B-1E61-E2BB-8DFE-3B3443ED29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6657" y="3554327"/>
            <a:ext cx="825500" cy="2159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Encre 2">
                <a:extLst>
                  <a:ext uri="{FF2B5EF4-FFF2-40B4-BE49-F238E27FC236}">
                    <a16:creationId xmlns:a16="http://schemas.microsoft.com/office/drawing/2014/main" id="{CBB4FCA0-F3A9-A924-4C68-E87AC8AD9729}"/>
                  </a:ext>
                </a:extLst>
              </p14:cNvPr>
              <p14:cNvContentPartPr/>
              <p14:nvPr/>
            </p14:nvContentPartPr>
            <p14:xfrm>
              <a:off x="4538280" y="3513777"/>
              <a:ext cx="360" cy="360"/>
            </p14:xfrm>
          </p:contentPart>
        </mc:Choice>
        <mc:Fallback xmlns="">
          <p:pic>
            <p:nvPicPr>
              <p:cNvPr id="3" name="Encre 2">
                <a:extLst>
                  <a:ext uri="{FF2B5EF4-FFF2-40B4-BE49-F238E27FC236}">
                    <a16:creationId xmlns:a16="http://schemas.microsoft.com/office/drawing/2014/main" id="{CBB4FCA0-F3A9-A924-4C68-E87AC8AD972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29280" y="3505137"/>
                <a:ext cx="18000" cy="18000"/>
              </a:xfrm>
              <a:prstGeom prst="rect">
                <a:avLst/>
              </a:prstGeom>
            </p:spPr>
          </p:pic>
        </mc:Fallback>
      </mc:AlternateContent>
      <p:grpSp>
        <p:nvGrpSpPr>
          <p:cNvPr id="6" name="Groupe 5">
            <a:extLst>
              <a:ext uri="{FF2B5EF4-FFF2-40B4-BE49-F238E27FC236}">
                <a16:creationId xmlns:a16="http://schemas.microsoft.com/office/drawing/2014/main" id="{D0455BA4-E167-BFC6-494B-C5ADC59B2024}"/>
              </a:ext>
            </a:extLst>
          </p:cNvPr>
          <p:cNvGrpSpPr/>
          <p:nvPr/>
        </p:nvGrpSpPr>
        <p:grpSpPr>
          <a:xfrm>
            <a:off x="4673613" y="3808864"/>
            <a:ext cx="128520" cy="305280"/>
            <a:chOff x="4451160" y="4050537"/>
            <a:chExt cx="128520" cy="3052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4" name="Encre 3">
                  <a:extLst>
                    <a:ext uri="{FF2B5EF4-FFF2-40B4-BE49-F238E27FC236}">
                      <a16:creationId xmlns:a16="http://schemas.microsoft.com/office/drawing/2014/main" id="{984CE1E6-C8A5-0A66-984B-9F21E9271FE5}"/>
                    </a:ext>
                  </a:extLst>
                </p14:cNvPr>
                <p14:cNvContentPartPr/>
                <p14:nvPr/>
              </p14:nvContentPartPr>
              <p14:xfrm>
                <a:off x="4451160" y="4050537"/>
                <a:ext cx="128520" cy="273240"/>
              </p14:xfrm>
            </p:contentPart>
          </mc:Choice>
          <mc:Fallback xmlns="">
            <p:pic>
              <p:nvPicPr>
                <p:cNvPr id="4" name="Encre 3">
                  <a:extLst>
                    <a:ext uri="{FF2B5EF4-FFF2-40B4-BE49-F238E27FC236}">
                      <a16:creationId xmlns:a16="http://schemas.microsoft.com/office/drawing/2014/main" id="{984CE1E6-C8A5-0A66-984B-9F21E9271FE5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436040" y="4035057"/>
                  <a:ext cx="159120" cy="303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5" name="Encre 4">
                  <a:extLst>
                    <a:ext uri="{FF2B5EF4-FFF2-40B4-BE49-F238E27FC236}">
                      <a16:creationId xmlns:a16="http://schemas.microsoft.com/office/drawing/2014/main" id="{9AAA1030-EB42-7AFB-B1B1-74C0070C938E}"/>
                    </a:ext>
                  </a:extLst>
                </p14:cNvPr>
                <p14:cNvContentPartPr/>
                <p14:nvPr/>
              </p14:nvContentPartPr>
              <p14:xfrm>
                <a:off x="4459080" y="4234857"/>
                <a:ext cx="81000" cy="120960"/>
              </p14:xfrm>
            </p:contentPart>
          </mc:Choice>
          <mc:Fallback xmlns="">
            <p:pic>
              <p:nvPicPr>
                <p:cNvPr id="5" name="Encre 4">
                  <a:extLst>
                    <a:ext uri="{FF2B5EF4-FFF2-40B4-BE49-F238E27FC236}">
                      <a16:creationId xmlns:a16="http://schemas.microsoft.com/office/drawing/2014/main" id="{9AAA1030-EB42-7AFB-B1B1-74C0070C938E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443960" y="4219737"/>
                  <a:ext cx="111600" cy="15120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A1ADA38F-EA47-45E2-2377-FE13F4CAB339}"/>
              </a:ext>
            </a:extLst>
          </p:cNvPr>
          <p:cNvGrpSpPr/>
          <p:nvPr/>
        </p:nvGrpSpPr>
        <p:grpSpPr>
          <a:xfrm>
            <a:off x="5075739" y="3808864"/>
            <a:ext cx="160560" cy="329040"/>
            <a:chOff x="4989000" y="4034337"/>
            <a:chExt cx="160560" cy="32904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7" name="Encre 6">
                  <a:extLst>
                    <a:ext uri="{FF2B5EF4-FFF2-40B4-BE49-F238E27FC236}">
                      <a16:creationId xmlns:a16="http://schemas.microsoft.com/office/drawing/2014/main" id="{C6907DCA-081A-73D2-8DF2-11E5B1707F9E}"/>
                    </a:ext>
                  </a:extLst>
                </p14:cNvPr>
                <p14:cNvContentPartPr/>
                <p14:nvPr/>
              </p14:nvContentPartPr>
              <p14:xfrm>
                <a:off x="4989000" y="4034337"/>
                <a:ext cx="136440" cy="265320"/>
              </p14:xfrm>
            </p:contentPart>
          </mc:Choice>
          <mc:Fallback xmlns="">
            <p:pic>
              <p:nvPicPr>
                <p:cNvPr id="7" name="Encre 6">
                  <a:extLst>
                    <a:ext uri="{FF2B5EF4-FFF2-40B4-BE49-F238E27FC236}">
                      <a16:creationId xmlns:a16="http://schemas.microsoft.com/office/drawing/2014/main" id="{C6907DCA-081A-73D2-8DF2-11E5B1707F9E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973880" y="4019217"/>
                  <a:ext cx="167040" cy="295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9" name="Encre 8">
                  <a:extLst>
                    <a:ext uri="{FF2B5EF4-FFF2-40B4-BE49-F238E27FC236}">
                      <a16:creationId xmlns:a16="http://schemas.microsoft.com/office/drawing/2014/main" id="{0B0613B2-168B-ACC6-8937-470D409DB622}"/>
                    </a:ext>
                  </a:extLst>
                </p14:cNvPr>
                <p14:cNvContentPartPr/>
                <p14:nvPr/>
              </p14:nvContentPartPr>
              <p14:xfrm>
                <a:off x="5085120" y="4230537"/>
                <a:ext cx="64440" cy="132840"/>
              </p14:xfrm>
            </p:contentPart>
          </mc:Choice>
          <mc:Fallback xmlns="">
            <p:pic>
              <p:nvPicPr>
                <p:cNvPr id="9" name="Encre 8">
                  <a:extLst>
                    <a:ext uri="{FF2B5EF4-FFF2-40B4-BE49-F238E27FC236}">
                      <a16:creationId xmlns:a16="http://schemas.microsoft.com/office/drawing/2014/main" id="{0B0613B2-168B-ACC6-8937-470D409DB622}"/>
                    </a:ext>
                  </a:extLst>
                </p:cNvPr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5069640" y="4215057"/>
                  <a:ext cx="95040" cy="16344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1" name="Image 10">
            <a:extLst>
              <a:ext uri="{FF2B5EF4-FFF2-40B4-BE49-F238E27FC236}">
                <a16:creationId xmlns:a16="http://schemas.microsoft.com/office/drawing/2014/main" id="{983C4399-B14B-CB4B-C623-FAE7ADE5FFC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486079" y="3953536"/>
            <a:ext cx="1371600" cy="24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1000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Outline and Motivation</a:t>
            </a:r>
            <a:endParaRPr lang="en-GB" sz="3200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6B356F9-E245-557A-D923-6A9F72A737AA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b="1" dirty="0">
              <a:latin typeface="Hurme Geometric Sans 4 SemiBold" panose="020B0A00020000000000" pitchFamily="34" charset="77"/>
              <a:sym typeface="Wingdings" pitchFamily="2" charset="2"/>
            </a:endParaRP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2A1DD48-ABCF-9B4C-96F8-E132E2960F6C}"/>
              </a:ext>
            </a:extLst>
          </p:cNvPr>
          <p:cNvSpPr txBox="1">
            <a:spLocks/>
          </p:cNvSpPr>
          <p:nvPr/>
        </p:nvSpPr>
        <p:spPr>
          <a:xfrm>
            <a:off x="1000418" y="11367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Two types of attacks… </a:t>
            </a:r>
            <a:r>
              <a:rPr lang="fr-FR" sz="18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</a:t>
            </a:r>
            <a:r>
              <a:rPr lang="fr-FR" sz="18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hakraborty</a:t>
            </a:r>
            <a:r>
              <a:rPr lang="fr-FR" sz="18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8] </a:t>
            </a:r>
            <a:endParaRPr lang="en-US" sz="1800" b="1" dirty="0">
              <a:solidFill>
                <a:schemeClr val="accent6">
                  <a:lumMod val="60000"/>
                  <a:lumOff val="40000"/>
                </a:schemeClr>
              </a:solidFill>
              <a:latin typeface="Hurme Geometric Sans 4 SemiBold" panose="020B0A00020000000000" pitchFamily="34" charset="77"/>
              <a:sym typeface="Wingdings" pitchFamily="2" charset="2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28B74B64-6F1A-8548-9E31-CAA61E3A0D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0615" y="2545959"/>
            <a:ext cx="1927679" cy="187494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865FF9D-2550-5D4A-92B5-FD2560837C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3706" y="4760945"/>
            <a:ext cx="4475489" cy="1365759"/>
          </a:xfrm>
          <a:prstGeom prst="rect">
            <a:avLst/>
          </a:prstGeom>
        </p:spPr>
      </p:pic>
      <p:pic>
        <p:nvPicPr>
          <p:cNvPr id="55" name="Image 54" descr="Une image contenant texte&#10;&#10;Description générée automatiquement">
            <a:extLst>
              <a:ext uri="{FF2B5EF4-FFF2-40B4-BE49-F238E27FC236}">
                <a16:creationId xmlns:a16="http://schemas.microsoft.com/office/drawing/2014/main" id="{836A739C-CA2A-C6A4-1F78-07A724B86B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6BC1D8C4-1D68-3249-8FDB-76F41DEC53F2}"/>
              </a:ext>
            </a:extLst>
          </p:cNvPr>
          <p:cNvGrpSpPr/>
          <p:nvPr/>
        </p:nvGrpSpPr>
        <p:grpSpPr>
          <a:xfrm>
            <a:off x="464452" y="1344162"/>
            <a:ext cx="5608102" cy="5933603"/>
            <a:chOff x="464452" y="197195"/>
            <a:chExt cx="5608102" cy="5933603"/>
          </a:xfrm>
        </p:grpSpPr>
        <p:sp>
          <p:nvSpPr>
            <p:cNvPr id="20" name="Arc 19">
              <a:extLst>
                <a:ext uri="{FF2B5EF4-FFF2-40B4-BE49-F238E27FC236}">
                  <a16:creationId xmlns:a16="http://schemas.microsoft.com/office/drawing/2014/main" id="{EBFB0A70-E8BA-1146-B9E7-7D86B7716898}"/>
                </a:ext>
              </a:extLst>
            </p:cNvPr>
            <p:cNvSpPr>
              <a:spLocks/>
            </p:cNvSpPr>
            <p:nvPr/>
          </p:nvSpPr>
          <p:spPr>
            <a:xfrm rot="8211529">
              <a:off x="1461877" y="197195"/>
              <a:ext cx="2389661" cy="2348433"/>
            </a:xfrm>
            <a:prstGeom prst="arc">
              <a:avLst>
                <a:gd name="adj1" fmla="val 17425592"/>
                <a:gd name="adj2" fmla="val 20220752"/>
              </a:avLst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986A2FE1-ED0C-DC44-B084-1640086B6239}"/>
                </a:ext>
              </a:extLst>
            </p:cNvPr>
            <p:cNvGrpSpPr/>
            <p:nvPr/>
          </p:nvGrpSpPr>
          <p:grpSpPr>
            <a:xfrm>
              <a:off x="464452" y="1801852"/>
              <a:ext cx="5608102" cy="4328946"/>
              <a:chOff x="464452" y="1801852"/>
              <a:chExt cx="5608102" cy="4328946"/>
            </a:xfrm>
          </p:grpSpPr>
          <p:sp>
            <p:nvSpPr>
              <p:cNvPr id="32" name="Text Placeholder 4">
                <a:extLst>
                  <a:ext uri="{FF2B5EF4-FFF2-40B4-BE49-F238E27FC236}">
                    <a16:creationId xmlns:a16="http://schemas.microsoft.com/office/drawing/2014/main" id="{BE22348E-1982-3E6C-6CA0-E33E7CB6824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4452" y="1801852"/>
                <a:ext cx="5608102" cy="4328946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1pPr>
                <a:lvl2pPr marL="457189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2pPr>
                <a:lvl3pPr marL="914377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3pPr>
                <a:lvl4pPr marL="1371566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4pPr>
                <a:lvl5pPr marL="1828754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600" b="1" dirty="0">
                    <a:sym typeface="Wingdings" pitchFamily="2" charset="2"/>
                  </a:rPr>
                  <a:t>Poisoning attacks </a:t>
                </a:r>
                <a:r>
                  <a:rPr lang="en-US" sz="1600" dirty="0">
                    <a:sym typeface="Wingdings" pitchFamily="2" charset="2"/>
                  </a:rPr>
                  <a:t>operates at </a:t>
                </a:r>
                <a:r>
                  <a:rPr lang="en-US" sz="1600" dirty="0">
                    <a:solidFill>
                      <a:schemeClr val="tx2"/>
                    </a:solidFill>
                    <a:sym typeface="Wingdings" pitchFamily="2" charset="2"/>
                  </a:rPr>
                  <a:t>training time</a:t>
                </a:r>
                <a:r>
                  <a:rPr lang="en-US" sz="1600" dirty="0">
                    <a:sym typeface="Wingdings" pitchFamily="2" charset="2"/>
                  </a:rPr>
                  <a:t>. It creates an attack distribution </a:t>
                </a:r>
              </a:p>
              <a:p>
                <a:endParaRPr lang="en-US" sz="1600" dirty="0">
                  <a:solidFill>
                    <a:schemeClr val="tx1"/>
                  </a:solidFill>
                  <a:sym typeface="Wingdings" pitchFamily="2" charset="2"/>
                </a:endParaRPr>
              </a:p>
              <a:p>
                <a:endParaRPr lang="en-US" sz="1600" dirty="0">
                  <a:sym typeface="Wingdings" pitchFamily="2" charset="2"/>
                </a:endParaRPr>
              </a:p>
              <a:p>
                <a:endParaRPr lang="en-US" sz="1600" dirty="0">
                  <a:solidFill>
                    <a:schemeClr val="tx1"/>
                  </a:solidFill>
                  <a:sym typeface="Wingdings" pitchFamily="2" charset="2"/>
                </a:endParaRPr>
              </a:p>
              <a:p>
                <a:pPr>
                  <a:spcBef>
                    <a:spcPts val="1000"/>
                  </a:spcBef>
                </a:pPr>
                <a:r>
                  <a:rPr lang="en-US" sz="1600" b="1" dirty="0">
                    <a:sym typeface="Wingdings" pitchFamily="2" charset="2"/>
                  </a:rPr>
                  <a:t>Evasion attacks </a:t>
                </a:r>
                <a:r>
                  <a:rPr lang="en-US" sz="1600" dirty="0">
                    <a:sym typeface="Wingdings" pitchFamily="2" charset="2"/>
                  </a:rPr>
                  <a:t>operate at </a:t>
                </a:r>
                <a:r>
                  <a:rPr lang="en-US" sz="1600" dirty="0">
                    <a:solidFill>
                      <a:schemeClr val="tx2"/>
                    </a:solidFill>
                    <a:sym typeface="Wingdings" pitchFamily="2" charset="2"/>
                  </a:rPr>
                  <a:t>inference time</a:t>
                </a:r>
                <a:r>
                  <a:rPr lang="en-US" sz="1600" dirty="0">
                    <a:sym typeface="Wingdings" pitchFamily="2" charset="2"/>
                  </a:rPr>
                  <a:t>. It create an attack distribution </a:t>
                </a:r>
                <a:endParaRPr lang="en-US" sz="1600" dirty="0">
                  <a:solidFill>
                    <a:schemeClr val="tx2"/>
                  </a:solidFill>
                  <a:sym typeface="Wingdings" pitchFamily="2" charset="2"/>
                </a:endParaRPr>
              </a:p>
            </p:txBody>
          </p:sp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A25CD86B-1F6F-2C48-BE5F-87499780FF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573823" y="2202118"/>
                <a:ext cx="2057400" cy="215900"/>
              </a:xfrm>
              <a:prstGeom prst="rect">
                <a:avLst/>
              </a:prstGeom>
            </p:spPr>
          </p:pic>
          <p:pic>
            <p:nvPicPr>
              <p:cNvPr id="18" name="Image 17">
                <a:extLst>
                  <a:ext uri="{FF2B5EF4-FFF2-40B4-BE49-F238E27FC236}">
                    <a16:creationId xmlns:a16="http://schemas.microsoft.com/office/drawing/2014/main" id="{E3C23B3F-B509-044A-9443-E9CBA2E1EA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587072" y="2822650"/>
                <a:ext cx="2603500" cy="215900"/>
              </a:xfrm>
              <a:prstGeom prst="rect">
                <a:avLst/>
              </a:prstGeom>
            </p:spPr>
          </p:pic>
          <p:sp>
            <p:nvSpPr>
              <p:cNvPr id="56" name="Text Placeholder 4">
                <a:extLst>
                  <a:ext uri="{FF2B5EF4-FFF2-40B4-BE49-F238E27FC236}">
                    <a16:creationId xmlns:a16="http://schemas.microsoft.com/office/drawing/2014/main" id="{8F0EBDD0-082C-0F41-830C-1A05982226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94426" y="2455316"/>
                <a:ext cx="1296146" cy="39373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1pPr>
                <a:lvl2pPr marL="457189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2pPr>
                <a:lvl3pPr marL="914377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3pPr>
                <a:lvl4pPr marL="1371566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4pPr>
                <a:lvl5pPr marL="1828754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sym typeface="Wingdings" pitchFamily="2" charset="2"/>
                  </a:rPr>
                  <a:t>Budget constraint</a:t>
                </a:r>
              </a:p>
            </p:txBody>
          </p:sp>
          <p:sp>
            <p:nvSpPr>
              <p:cNvPr id="62" name="Arc 61">
                <a:extLst>
                  <a:ext uri="{FF2B5EF4-FFF2-40B4-BE49-F238E27FC236}">
                    <a16:creationId xmlns:a16="http://schemas.microsoft.com/office/drawing/2014/main" id="{2D8E6E47-138A-A04C-ADF5-DF335C09D34F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8211529">
                <a:off x="3843774" y="2501686"/>
                <a:ext cx="575229" cy="565305"/>
              </a:xfrm>
              <a:prstGeom prst="arc">
                <a:avLst>
                  <a:gd name="adj1" fmla="val 17425592"/>
                  <a:gd name="adj2" fmla="val 20220752"/>
                </a:avLst>
              </a:prstGeom>
              <a:ln w="1270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63" name="Text Placeholder 4">
                <a:extLst>
                  <a:ext uri="{FF2B5EF4-FFF2-40B4-BE49-F238E27FC236}">
                    <a16:creationId xmlns:a16="http://schemas.microsoft.com/office/drawing/2014/main" id="{93F2C4AF-FBB8-E144-8B01-2C21788EE86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007396" y="3109395"/>
                <a:ext cx="1296146" cy="39373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marL="0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1pPr>
                <a:lvl2pPr marL="457189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2pPr>
                <a:lvl3pPr marL="914377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3pPr>
                <a:lvl4pPr marL="1371566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4pPr>
                <a:lvl5pPr marL="1828754" indent="0" algn="l" defTabSz="914377" rtl="0" eaLnBrk="1" latinLnBrk="0" hangingPunct="1">
                  <a:lnSpc>
                    <a:spcPct val="12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b="0" i="0" kern="1200">
                    <a:solidFill>
                      <a:schemeClr val="tx2"/>
                    </a:solidFill>
                    <a:latin typeface="HurmeGeometricSans1 Regular" panose="020B0500020000000000" pitchFamily="34" charset="0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sym typeface="Wingdings" pitchFamily="2" charset="2"/>
                  </a:rPr>
                  <a:t>Attack amplitude</a:t>
                </a:r>
              </a:p>
            </p:txBody>
          </p:sp>
          <p:pic>
            <p:nvPicPr>
              <p:cNvPr id="64" name="Image 63">
                <a:extLst>
                  <a:ext uri="{FF2B5EF4-FFF2-40B4-BE49-F238E27FC236}">
                    <a16:creationId xmlns:a16="http://schemas.microsoft.com/office/drawing/2014/main" id="{8151CB90-DCCB-7547-801A-DCBC045A4F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573823" y="4013812"/>
                <a:ext cx="2057400" cy="215900"/>
              </a:xfrm>
              <a:prstGeom prst="rect">
                <a:avLst/>
              </a:prstGeom>
            </p:spPr>
          </p:pic>
          <p:pic>
            <p:nvPicPr>
              <p:cNvPr id="21" name="Image 20">
                <a:extLst>
                  <a:ext uri="{FF2B5EF4-FFF2-40B4-BE49-F238E27FC236}">
                    <a16:creationId xmlns:a16="http://schemas.microsoft.com/office/drawing/2014/main" id="{773767C5-A497-904A-AD04-6A45449240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73823" y="4493629"/>
                <a:ext cx="2628900" cy="215900"/>
              </a:xfrm>
              <a:prstGeom prst="rect">
                <a:avLst/>
              </a:prstGeom>
            </p:spPr>
          </p:pic>
        </p:grp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EA13C7B8-9C53-9C40-BC81-29AFF32A2043}"/>
              </a:ext>
            </a:extLst>
          </p:cNvPr>
          <p:cNvGrpSpPr/>
          <p:nvPr/>
        </p:nvGrpSpPr>
        <p:grpSpPr>
          <a:xfrm>
            <a:off x="464451" y="1703540"/>
            <a:ext cx="7048175" cy="1652310"/>
            <a:chOff x="464451" y="2160744"/>
            <a:chExt cx="7048175" cy="1652310"/>
          </a:xfrm>
        </p:grpSpPr>
        <p:sp>
          <p:nvSpPr>
            <p:cNvPr id="68" name="Text Placeholder 4">
              <a:extLst>
                <a:ext uri="{FF2B5EF4-FFF2-40B4-BE49-F238E27FC236}">
                  <a16:creationId xmlns:a16="http://schemas.microsoft.com/office/drawing/2014/main" id="{9706CCA4-6330-FF40-9CF5-DB4D2E086E00}"/>
                </a:ext>
              </a:extLst>
            </p:cNvPr>
            <p:cNvSpPr txBox="1">
              <a:spLocks/>
            </p:cNvSpPr>
            <p:nvPr/>
          </p:nvSpPr>
          <p:spPr>
            <a:xfrm>
              <a:off x="464451" y="2160744"/>
              <a:ext cx="7048175" cy="165231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1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12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b="0" i="0" kern="1200">
                  <a:solidFill>
                    <a:schemeClr val="tx2"/>
                  </a:solidFill>
                  <a:latin typeface="HurmeGeometricSans1 Regular" panose="020B0500020000000000" pitchFamily="34" charset="0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sym typeface="Wingdings" pitchFamily="2" charset="2"/>
                </a:rPr>
                <a:t>Supervised Learning:</a:t>
              </a:r>
              <a:r>
                <a:rPr lang="en-US" sz="1600" dirty="0">
                  <a:sym typeface="Wingdings" pitchFamily="2" charset="2"/>
                </a:rPr>
                <a:t>                               the data</a:t>
              </a:r>
            </a:p>
            <a:p>
              <a:pPr>
                <a:spcBef>
                  <a:spcPts val="0"/>
                </a:spcBef>
              </a:pPr>
              <a:r>
                <a:rPr lang="en-US" sz="1600" dirty="0">
                  <a:sym typeface="Wingdings" pitchFamily="2" charset="2"/>
                </a:rPr>
                <a:t>                                                                     algorithm (outputs a model)</a:t>
              </a:r>
            </a:p>
            <a:p>
              <a:pPr>
                <a:spcBef>
                  <a:spcPts val="0"/>
                </a:spcBef>
              </a:pPr>
              <a:r>
                <a:rPr lang="en-US" sz="1600" dirty="0">
                  <a:sym typeface="Wingdings" pitchFamily="2" charset="2"/>
                </a:rPr>
                <a:t>                                                                     Evaluation metric of model     on </a:t>
              </a:r>
              <a:r>
                <a:rPr lang="en-US" sz="1600" dirty="0" err="1">
                  <a:sym typeface="Wingdings" pitchFamily="2" charset="2"/>
                </a:rPr>
                <a:t>distrib</a:t>
              </a:r>
              <a:r>
                <a:rPr lang="en-US" sz="1600" dirty="0">
                  <a:sym typeface="Wingdings" pitchFamily="2" charset="2"/>
                </a:rPr>
                <a:t>.  </a:t>
              </a:r>
            </a:p>
          </p:txBody>
        </p:sp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id="{B948FCF2-97C6-9B4A-B416-1896F4FB1B6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348523" y="2266527"/>
              <a:ext cx="1282700" cy="228600"/>
            </a:xfrm>
            <a:prstGeom prst="rect">
              <a:avLst/>
            </a:prstGeom>
          </p:spPr>
        </p:pic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7483D28D-A76F-7D41-BC1F-EC7049357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335999" y="2567709"/>
              <a:ext cx="1206500" cy="203200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8A4B4BFA-4C24-2646-9AA8-760DEE7E67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335999" y="2821764"/>
              <a:ext cx="1282700" cy="215900"/>
            </a:xfrm>
            <a:prstGeom prst="rect">
              <a:avLst/>
            </a:prstGeom>
          </p:spPr>
        </p:pic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D2E43FD3-15D3-BD41-9741-8D63DBB48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215925" y="2854126"/>
              <a:ext cx="114300" cy="203200"/>
            </a:xfrm>
            <a:prstGeom prst="rect">
              <a:avLst/>
            </a:prstGeom>
          </p:spPr>
        </p:pic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id="{1C85199B-AA4D-D840-89C0-A7FC894DB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273374" y="2869135"/>
              <a:ext cx="152400" cy="152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27537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41BACE-647B-4FD1-9C69-FD868CBE2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7578" y="660700"/>
            <a:ext cx="9634422" cy="3254400"/>
          </a:xfrm>
        </p:spPr>
        <p:txBody>
          <a:bodyPr>
            <a:normAutofit/>
          </a:bodyPr>
          <a:lstStyle/>
          <a:p>
            <a:r>
              <a:rPr lang="en-US" dirty="0">
                <a:sym typeface="Wingdings" pitchFamily="2" charset="2"/>
              </a:rPr>
              <a:t>Existence of Low-Dimensional Adversarial Attacks</a:t>
            </a:r>
          </a:p>
        </p:txBody>
      </p: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2E872277-AE56-5715-F673-0F70C29CF3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08015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Low dimensional Attack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Sett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6" y="1649196"/>
            <a:ext cx="9346830" cy="47383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Task:</a:t>
            </a:r>
            <a:endParaRPr lang="en-US" sz="1600" b="1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arenR"/>
            </a:pPr>
            <a:r>
              <a:rPr lang="en-US" sz="1600" dirty="0"/>
              <a:t>Binary classification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/>
              <a:t>                                                                              </a:t>
            </a:r>
            <a:r>
              <a:rPr lang="en-US" sz="1600" dirty="0" err="1"/>
              <a:t>e.g</a:t>
            </a:r>
            <a:endParaRPr lang="en-US" sz="16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/>
              <a:t>2) Negative decision regi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3) Margin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b="1" u="sng" dirty="0">
                <a:sym typeface="Wingdings" pitchFamily="2" charset="2"/>
              </a:rPr>
              <a:t>Low-dimensional attack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AutoNum type="arabicParenR"/>
            </a:pPr>
            <a:r>
              <a:rPr lang="en-US" sz="1600" dirty="0">
                <a:sym typeface="Wingdings" pitchFamily="2" charset="2"/>
              </a:rPr>
              <a:t>Attackable region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AutoNum type="arabicParenR"/>
            </a:pPr>
            <a:r>
              <a:rPr lang="en-US" sz="1600" dirty="0">
                <a:sym typeface="Wingdings" pitchFamily="2" charset="2"/>
              </a:rPr>
              <a:t>Fooling rate of a subspace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1" u="sng" dirty="0">
                <a:sym typeface="Wingdings" pitchFamily="2" charset="2"/>
              </a:rPr>
              <a:t>Goal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Bounds of the type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Encre 2">
                <a:extLst>
                  <a:ext uri="{FF2B5EF4-FFF2-40B4-BE49-F238E27FC236}">
                    <a16:creationId xmlns:a16="http://schemas.microsoft.com/office/drawing/2014/main" id="{CBB4FCA0-F3A9-A924-4C68-E87AC8AD9729}"/>
                  </a:ext>
                </a:extLst>
              </p14:cNvPr>
              <p14:cNvContentPartPr/>
              <p14:nvPr/>
            </p14:nvContentPartPr>
            <p14:xfrm>
              <a:off x="4538280" y="3513777"/>
              <a:ext cx="360" cy="360"/>
            </p14:xfrm>
          </p:contentPart>
        </mc:Choice>
        <mc:Fallback xmlns="">
          <p:pic>
            <p:nvPicPr>
              <p:cNvPr id="3" name="Encre 2">
                <a:extLst>
                  <a:ext uri="{FF2B5EF4-FFF2-40B4-BE49-F238E27FC236}">
                    <a16:creationId xmlns:a16="http://schemas.microsoft.com/office/drawing/2014/main" id="{CBB4FCA0-F3A9-A924-4C68-E87AC8AD972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29280" y="3505137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12" name="Image 11">
            <a:extLst>
              <a:ext uri="{FF2B5EF4-FFF2-40B4-BE49-F238E27FC236}">
                <a16:creationId xmlns:a16="http://schemas.microsoft.com/office/drawing/2014/main" id="{809253DA-97D2-9148-A0B1-256B1F26BF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96937" y="2137064"/>
            <a:ext cx="685800" cy="15240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716456B5-F2B1-E74E-9636-0D1FA82F31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96937" y="2373549"/>
            <a:ext cx="1282700" cy="203200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F8A0F5C-0C53-3242-A8FE-79D0E88771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88862" y="2333717"/>
            <a:ext cx="2667000" cy="24130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D9A8FA8-F06F-0340-BF62-D8EC2D6FE9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36551" y="2671143"/>
            <a:ext cx="4457700" cy="24130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AAA763F8-0D14-B34B-A3CC-51690E2F47E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10641" y="3004956"/>
            <a:ext cx="2705100" cy="228600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4FEEB700-AC7F-9341-BDA0-89CB512EE22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95516" y="4320259"/>
            <a:ext cx="4711700" cy="241300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F832C1C3-654D-8549-9E1A-4C6739D9830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64783" y="3513777"/>
            <a:ext cx="2149002" cy="1892830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EF752804-4EEE-754C-9F7D-2EFED416B5E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688748" y="4662291"/>
            <a:ext cx="3136900" cy="228600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DFE6CCD3-EFFD-FC43-9220-46CDB77651A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718412" y="5592119"/>
            <a:ext cx="4275840" cy="286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10481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Low dimensional Attack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 err="1">
                <a:latin typeface="Hurme Geometric Sans 4 SemiBold" panose="020B0A00020000000000" pitchFamily="34" charset="77"/>
                <a:sym typeface="Wingdings" pitchFamily="2" charset="2"/>
              </a:rPr>
              <a:t>Adversarially</a:t>
            </a:r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 Viable Subspac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6" y="1649196"/>
            <a:ext cx="9346830" cy="47383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Idea:</a:t>
            </a:r>
            <a:r>
              <a:rPr lang="en-US" sz="1600" dirty="0"/>
              <a:t> </a:t>
            </a:r>
            <a:r>
              <a:rPr lang="en-US" sz="1600" dirty="0" err="1">
                <a:solidFill>
                  <a:schemeClr val="tx2"/>
                </a:solidFill>
              </a:rPr>
              <a:t>adversarially</a:t>
            </a:r>
            <a:r>
              <a:rPr lang="en-US" sz="1600" dirty="0">
                <a:solidFill>
                  <a:schemeClr val="tx2"/>
                </a:solidFill>
              </a:rPr>
              <a:t> viable subspaces </a:t>
            </a:r>
            <a:r>
              <a:rPr lang="en-US" sz="1600" dirty="0"/>
              <a:t>allow the attacker to follow the gradient direction within        to reach the decision boundary of        for most points              , hence </a:t>
            </a:r>
            <a:r>
              <a:rPr lang="en-US" sz="1600" dirty="0">
                <a:solidFill>
                  <a:schemeClr val="tx2"/>
                </a:solidFill>
              </a:rPr>
              <a:t>achieving a high fooling rate</a:t>
            </a:r>
            <a:r>
              <a:rPr lang="en-US" sz="1600" dirty="0"/>
              <a:t>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dirty="0"/>
              <a:t>Definition: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Encre 2">
                <a:extLst>
                  <a:ext uri="{FF2B5EF4-FFF2-40B4-BE49-F238E27FC236}">
                    <a16:creationId xmlns:a16="http://schemas.microsoft.com/office/drawing/2014/main" id="{CBB4FCA0-F3A9-A924-4C68-E87AC8AD9729}"/>
                  </a:ext>
                </a:extLst>
              </p14:cNvPr>
              <p14:cNvContentPartPr/>
              <p14:nvPr/>
            </p14:nvContentPartPr>
            <p14:xfrm>
              <a:off x="4538280" y="3513777"/>
              <a:ext cx="360" cy="360"/>
            </p14:xfrm>
          </p:contentPart>
        </mc:Choice>
        <mc:Fallback xmlns="">
          <p:pic>
            <p:nvPicPr>
              <p:cNvPr id="3" name="Encre 2">
                <a:extLst>
                  <a:ext uri="{FF2B5EF4-FFF2-40B4-BE49-F238E27FC236}">
                    <a16:creationId xmlns:a16="http://schemas.microsoft.com/office/drawing/2014/main" id="{CBB4FCA0-F3A9-A924-4C68-E87AC8AD972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29280" y="3505137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4" name="Image 3">
            <a:extLst>
              <a:ext uri="{FF2B5EF4-FFF2-40B4-BE49-F238E27FC236}">
                <a16:creationId xmlns:a16="http://schemas.microsoft.com/office/drawing/2014/main" id="{AFEF7829-9D2B-5449-91CC-C6CEBF16C8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29262" y="1742861"/>
            <a:ext cx="152400" cy="1651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B2D28CF-5BCC-CA42-BBF2-9C38A93406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32043" y="1988076"/>
            <a:ext cx="152400" cy="1651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725D649-9F54-D940-BD09-E3403D72738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1532" y="1975376"/>
            <a:ext cx="558800" cy="1778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81A12D7E-CC62-BA42-8D65-90212EE3F0F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67466" y="4324193"/>
            <a:ext cx="3195870" cy="2172254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6BC8CADB-8440-7F47-9502-1CA87165E50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27817" y="2666254"/>
            <a:ext cx="6807200" cy="24130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90AB01ED-1603-414B-BD8A-6112EC2C182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31403" y="3016454"/>
            <a:ext cx="3886200" cy="215900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183B06B2-803B-F845-9333-2983C81EB11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643482" y="3443559"/>
            <a:ext cx="3644900" cy="228600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1303663E-48A4-2640-B54E-186A55FB2C4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45673" y="3864875"/>
            <a:ext cx="5575300" cy="2159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4CAC172-908B-8547-BAB6-CEB04E92B369}"/>
              </a:ext>
            </a:extLst>
          </p:cNvPr>
          <p:cNvSpPr/>
          <p:nvPr/>
        </p:nvSpPr>
        <p:spPr>
          <a:xfrm>
            <a:off x="991986" y="2322323"/>
            <a:ext cx="10665979" cy="1885841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057285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Low dimensional Attack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Examples of </a:t>
            </a:r>
            <a:r>
              <a:rPr lang="en-US" sz="1800" b="1" dirty="0" err="1">
                <a:latin typeface="Hurme Geometric Sans 4 SemiBold" panose="020B0A00020000000000" pitchFamily="34" charset="77"/>
                <a:sym typeface="Wingdings" pitchFamily="2" charset="2"/>
              </a:rPr>
              <a:t>Adversarially</a:t>
            </a:r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 Viable Subspac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6" y="1649197"/>
            <a:ext cx="9346830" cy="3095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Random Subspac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b="1" u="sng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b="1" u="sng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b="1" u="sng" dirty="0"/>
              <a:t>Eigen-Subspac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78C273A-9640-9247-B72A-59DC756650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8550" y="2051024"/>
            <a:ext cx="7556500" cy="2794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0563BBB-E780-5E45-97AA-2F8184D0C4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8550" y="3274264"/>
            <a:ext cx="6515100" cy="228600"/>
          </a:xfrm>
          <a:prstGeom prst="rect">
            <a:avLst/>
          </a:prstGeom>
        </p:spPr>
      </p:pic>
      <p:grpSp>
        <p:nvGrpSpPr>
          <p:cNvPr id="15" name="Groupe 14">
            <a:extLst>
              <a:ext uri="{FF2B5EF4-FFF2-40B4-BE49-F238E27FC236}">
                <a16:creationId xmlns:a16="http://schemas.microsoft.com/office/drawing/2014/main" id="{AFE081E7-D1E6-F743-833E-DD9E3F359BE6}"/>
              </a:ext>
            </a:extLst>
          </p:cNvPr>
          <p:cNvGrpSpPr/>
          <p:nvPr/>
        </p:nvGrpSpPr>
        <p:grpSpPr>
          <a:xfrm>
            <a:off x="1098550" y="3561549"/>
            <a:ext cx="10346055" cy="254000"/>
            <a:chOff x="1507462" y="5098291"/>
            <a:chExt cx="10346055" cy="254000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5BAFA8D7-3C99-894E-B65D-269CCC1D7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507462" y="5098291"/>
              <a:ext cx="6248400" cy="254000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60D6375C-5B13-7B4D-9E88-99007798C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865717" y="5123691"/>
              <a:ext cx="3987800" cy="203200"/>
            </a:xfrm>
            <a:prstGeom prst="rect">
              <a:avLst/>
            </a:prstGeom>
          </p:spPr>
        </p:pic>
      </p:grpSp>
      <p:pic>
        <p:nvPicPr>
          <p:cNvPr id="17" name="Image 16">
            <a:extLst>
              <a:ext uri="{FF2B5EF4-FFF2-40B4-BE49-F238E27FC236}">
                <a16:creationId xmlns:a16="http://schemas.microsoft.com/office/drawing/2014/main" id="{66D3D9AE-4F0C-D947-A7A0-B90496462C3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496"/>
          <a:stretch/>
        </p:blipFill>
        <p:spPr>
          <a:xfrm>
            <a:off x="1085488" y="3852937"/>
            <a:ext cx="4281553" cy="25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00427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Low dimensional Attack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9054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Results on models with Lipschitz Decision Boundari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6" y="1649197"/>
            <a:ext cx="9346830" cy="3095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b="1" u="sng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72D0A88-0D36-404A-952E-95E5E9E3F0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1966" y="1605385"/>
            <a:ext cx="8092398" cy="109811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E1D10A80-F74B-E747-8C80-754558630B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1986" y="2764093"/>
            <a:ext cx="8231714" cy="832195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F24F7F3-AE02-D443-8D2F-A072C59072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3850" y="3717623"/>
            <a:ext cx="8231714" cy="3098173"/>
          </a:xfrm>
          <a:prstGeom prst="rect">
            <a:avLst/>
          </a:prstGeom>
          <a:ln w="22225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23299864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Low dimensional Attack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9054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Results on models with Lipschitz Decision Boundari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6" y="1649197"/>
            <a:ext cx="9346830" cy="3095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b="1" u="sng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D8A07F3-A4EF-E645-A01D-4D5C7B7F67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56769" y="1649197"/>
            <a:ext cx="6817263" cy="4976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27944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Low dimensional Attack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9054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Matching upper bound for convex decision region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6" y="1649197"/>
            <a:ext cx="9346830" cy="3095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b="1" u="sng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22D9E40-25D6-5D4F-A1BB-E84FEA0D7A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1986" y="1742940"/>
            <a:ext cx="8345756" cy="25820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30751900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Low dimensional Attack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9054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Applications to Neural Network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6" y="1649197"/>
            <a:ext cx="9346830" cy="3095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b="1" u="sng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2298632-A57C-8C49-9CF9-A38E8BACE3E8}"/>
              </a:ext>
            </a:extLst>
          </p:cNvPr>
          <p:cNvSpPr txBox="1">
            <a:spLocks/>
          </p:cNvSpPr>
          <p:nvPr/>
        </p:nvSpPr>
        <p:spPr>
          <a:xfrm>
            <a:off x="991985" y="1649197"/>
            <a:ext cx="10665979" cy="3095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 sz="1600" dirty="0">
                <a:sym typeface="Wingdings" pitchFamily="2" charset="2"/>
              </a:rPr>
              <a:t>Types of </a:t>
            </a:r>
            <a:r>
              <a:rPr lang="fr-FR" sz="1600" b="1" dirty="0">
                <a:solidFill>
                  <a:schemeClr val="tx2"/>
                </a:solidFill>
                <a:sym typeface="Wingdings" pitchFamily="2" charset="2"/>
              </a:rPr>
              <a:t>neural networks </a:t>
            </a:r>
            <a:r>
              <a:rPr lang="fr-FR" sz="1600" dirty="0">
                <a:sym typeface="Wingdings" pitchFamily="2" charset="2"/>
              </a:rPr>
              <a:t>for </a:t>
            </a:r>
            <a:r>
              <a:rPr lang="fr-FR" sz="1600" dirty="0" err="1">
                <a:sym typeface="Wingdings" pitchFamily="2" charset="2"/>
              </a:rPr>
              <a:t>which</a:t>
            </a:r>
            <a:r>
              <a:rPr lang="fr-FR" sz="1600" dirty="0">
                <a:sym typeface="Wingdings" pitchFamily="2" charset="2"/>
              </a:rPr>
              <a:t> the </a:t>
            </a:r>
            <a:r>
              <a:rPr lang="fr-FR" sz="1600" b="1" dirty="0" err="1">
                <a:solidFill>
                  <a:schemeClr val="tx2"/>
                </a:solidFill>
                <a:sym typeface="Wingdings" pitchFamily="2" charset="2"/>
              </a:rPr>
              <a:t>results</a:t>
            </a:r>
            <a:r>
              <a:rPr lang="fr-FR" sz="1600" dirty="0">
                <a:sym typeface="Wingdings" pitchFamily="2" charset="2"/>
              </a:rPr>
              <a:t> </a:t>
            </a:r>
            <a:r>
              <a:rPr lang="fr-FR" sz="1600" dirty="0" err="1">
                <a:sym typeface="Wingdings" pitchFamily="2" charset="2"/>
              </a:rPr>
              <a:t>hold</a:t>
            </a:r>
            <a:r>
              <a:rPr lang="fr-FR" sz="1600" dirty="0">
                <a:sym typeface="Wingdings" pitchFamily="2" charset="2"/>
              </a:rPr>
              <a:t>: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AutoNum type="arabicParenR"/>
            </a:pPr>
            <a:r>
              <a:rPr lang="fr-FR" sz="1600" b="1" u="sng" dirty="0" err="1">
                <a:sym typeface="Wingdings" pitchFamily="2" charset="2"/>
              </a:rPr>
              <a:t>Random</a:t>
            </a:r>
            <a:r>
              <a:rPr lang="fr-FR" sz="1600" b="1" u="sng" dirty="0">
                <a:sym typeface="Wingdings" pitchFamily="2" charset="2"/>
              </a:rPr>
              <a:t> </a:t>
            </a:r>
            <a:r>
              <a:rPr lang="fr-FR" sz="1600" b="1" u="sng" dirty="0" err="1">
                <a:sym typeface="Wingdings" pitchFamily="2" charset="2"/>
              </a:rPr>
              <a:t>Features</a:t>
            </a:r>
            <a:r>
              <a:rPr lang="fr-FR" sz="1600" b="1" u="sng" dirty="0">
                <a:sym typeface="Wingdings" pitchFamily="2" charset="2"/>
              </a:rPr>
              <a:t> </a:t>
            </a:r>
            <a:r>
              <a:rPr lang="fr-FR" sz="1600" b="1" u="sng" dirty="0" err="1">
                <a:sym typeface="Wingdings" pitchFamily="2" charset="2"/>
              </a:rPr>
              <a:t>regime</a:t>
            </a:r>
            <a:r>
              <a:rPr lang="fr-FR" sz="1600" dirty="0">
                <a:sym typeface="Wingdings" pitchFamily="2" charset="2"/>
              </a:rPr>
              <a:t>: </a:t>
            </a:r>
            <a:r>
              <a:rPr lang="fr-FR" sz="1600" dirty="0" err="1">
                <a:sym typeface="Wingdings" pitchFamily="2" charset="2"/>
              </a:rPr>
              <a:t>random</a:t>
            </a:r>
            <a:r>
              <a:rPr lang="fr-FR" sz="1600" dirty="0">
                <a:sym typeface="Wingdings" pitchFamily="2" charset="2"/>
              </a:rPr>
              <a:t> </a:t>
            </a:r>
            <a:r>
              <a:rPr lang="fr-FR" sz="1600" dirty="0" err="1">
                <a:sym typeface="Wingdings" pitchFamily="2" charset="2"/>
              </a:rPr>
              <a:t>weights</a:t>
            </a:r>
            <a:r>
              <a:rPr lang="fr-FR" sz="1600" dirty="0">
                <a:sym typeface="Wingdings" pitchFamily="2" charset="2"/>
              </a:rPr>
              <a:t> </a:t>
            </a:r>
            <a:r>
              <a:rPr lang="fr-FR" sz="1600" dirty="0" err="1">
                <a:sym typeface="Wingdings" pitchFamily="2" charset="2"/>
              </a:rPr>
              <a:t>except</a:t>
            </a:r>
            <a:r>
              <a:rPr lang="fr-FR" sz="1600" dirty="0">
                <a:sym typeface="Wingdings" pitchFamily="2" charset="2"/>
              </a:rPr>
              <a:t> in the last layer + conditions on the </a:t>
            </a:r>
            <a:r>
              <a:rPr lang="fr-FR" sz="1600" dirty="0" err="1">
                <a:sym typeface="Wingdings" pitchFamily="2" charset="2"/>
              </a:rPr>
              <a:t>layers</a:t>
            </a:r>
            <a:endParaRPr lang="fr-FR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fr-FR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fr-FR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 sz="1600" b="1" dirty="0">
                <a:sym typeface="Wingdings" pitchFamily="2" charset="2"/>
              </a:rPr>
              <a:t>2)   </a:t>
            </a:r>
            <a:r>
              <a:rPr lang="fr-FR" sz="1600" b="1" u="sng" dirty="0" err="1">
                <a:sym typeface="Wingdings" pitchFamily="2" charset="2"/>
              </a:rPr>
              <a:t>Lazy</a:t>
            </a:r>
            <a:r>
              <a:rPr lang="fr-FR" sz="1600" b="1" u="sng" dirty="0">
                <a:sym typeface="Wingdings" pitchFamily="2" charset="2"/>
              </a:rPr>
              <a:t> </a:t>
            </a:r>
            <a:r>
              <a:rPr lang="fr-FR" sz="1600" b="1" u="sng" dirty="0" err="1">
                <a:sym typeface="Wingdings" pitchFamily="2" charset="2"/>
              </a:rPr>
              <a:t>regime</a:t>
            </a:r>
            <a:r>
              <a:rPr lang="fr-FR" sz="1600" dirty="0">
                <a:sym typeface="Wingdings" pitchFamily="2" charset="2"/>
              </a:rPr>
              <a:t>: the </a:t>
            </a:r>
            <a:r>
              <a:rPr lang="fr-FR" sz="1600" dirty="0" err="1">
                <a:sym typeface="Wingdings" pitchFamily="2" charset="2"/>
              </a:rPr>
              <a:t>weights</a:t>
            </a:r>
            <a:r>
              <a:rPr lang="fr-FR" sz="1600" dirty="0">
                <a:sym typeface="Wingdings" pitchFamily="2" charset="2"/>
              </a:rPr>
              <a:t> of the neural network </a:t>
            </a:r>
            <a:r>
              <a:rPr lang="fr-FR" sz="1600" dirty="0" err="1">
                <a:sym typeface="Wingdings" pitchFamily="2" charset="2"/>
              </a:rPr>
              <a:t>stay</a:t>
            </a:r>
            <a:r>
              <a:rPr lang="fr-FR" sz="1600" dirty="0">
                <a:sym typeface="Wingdings" pitchFamily="2" charset="2"/>
              </a:rPr>
              <a:t> close to </a:t>
            </a:r>
            <a:r>
              <a:rPr lang="fr-FR" sz="1600" dirty="0" err="1">
                <a:sym typeface="Wingdings" pitchFamily="2" charset="2"/>
              </a:rPr>
              <a:t>their</a:t>
            </a:r>
            <a:r>
              <a:rPr lang="fr-FR" sz="1600" dirty="0">
                <a:sym typeface="Wingdings" pitchFamily="2" charset="2"/>
              </a:rPr>
              <a:t> </a:t>
            </a:r>
            <a:r>
              <a:rPr lang="fr-FR" sz="1600" dirty="0" err="1">
                <a:sym typeface="Wingdings" pitchFamily="2" charset="2"/>
              </a:rPr>
              <a:t>initialization</a:t>
            </a:r>
            <a:r>
              <a:rPr lang="fr-FR" sz="1600" dirty="0">
                <a:sym typeface="Wingdings" pitchFamily="2" charset="2"/>
              </a:rPr>
              <a:t> values + </a:t>
            </a:r>
            <a:r>
              <a:rPr lang="fr-FR" sz="1600" dirty="0" err="1">
                <a:sym typeface="Wingdings" pitchFamily="2" charset="2"/>
              </a:rPr>
              <a:t>additional</a:t>
            </a:r>
            <a:r>
              <a:rPr lang="fr-FR" sz="1600" dirty="0">
                <a:sym typeface="Wingdings" pitchFamily="2" charset="2"/>
              </a:rPr>
              <a:t> conditions on the </a:t>
            </a:r>
            <a:r>
              <a:rPr lang="fr-FR" sz="1600" dirty="0" err="1">
                <a:sym typeface="Wingdings" pitchFamily="2" charset="2"/>
              </a:rPr>
              <a:t>feature</a:t>
            </a:r>
            <a:r>
              <a:rPr lang="fr-FR" sz="1600" dirty="0">
                <a:sym typeface="Wingdings" pitchFamily="2" charset="2"/>
              </a:rPr>
              <a:t> </a:t>
            </a:r>
            <a:r>
              <a:rPr lang="fr-FR" sz="1600" dirty="0" err="1">
                <a:sym typeface="Wingdings" pitchFamily="2" charset="2"/>
              </a:rPr>
              <a:t>map</a:t>
            </a:r>
            <a:r>
              <a:rPr lang="fr-FR" sz="1600" dirty="0">
                <a:sym typeface="Wingdings" pitchFamily="2" charset="2"/>
              </a:rPr>
              <a:t>, gradients, </a:t>
            </a:r>
            <a:r>
              <a:rPr lang="fr-FR" sz="1600" dirty="0" err="1">
                <a:sym typeface="Wingdings" pitchFamily="2" charset="2"/>
              </a:rPr>
              <a:t>etc</a:t>
            </a:r>
            <a:r>
              <a:rPr lang="fr-FR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fr-FR" sz="16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olidFill>
                <a:schemeClr val="tx2"/>
              </a:solidFill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A484703-863A-DF49-B39A-0CE850F687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3575" y="3851474"/>
            <a:ext cx="2265162" cy="304275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9176C1BD-5B39-1D48-9BD4-69AB152912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3575" y="2419521"/>
            <a:ext cx="4787361" cy="381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47835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987" y="396811"/>
            <a:ext cx="10208027" cy="898374"/>
          </a:xfrm>
        </p:spPr>
        <p:txBody>
          <a:bodyPr>
            <a:normAutofit/>
          </a:bodyPr>
          <a:lstStyle/>
          <a:p>
            <a:r>
              <a:rPr lang="en-US" dirty="0"/>
              <a:t>Low dimensional Attacks</a:t>
            </a:r>
            <a:endParaRPr lang="en-GB" dirty="0"/>
          </a:p>
        </p:txBody>
      </p:sp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4191534-D96D-D14C-9A4B-F88383EC7D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0F63A06-D340-A1E6-6CE4-9F4857794618}"/>
              </a:ext>
            </a:extLst>
          </p:cNvPr>
          <p:cNvSpPr txBox="1">
            <a:spLocks/>
          </p:cNvSpPr>
          <p:nvPr/>
        </p:nvSpPr>
        <p:spPr>
          <a:xfrm>
            <a:off x="139054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Results – Random Subspace attack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185E6B5-0089-2CAF-4D6C-16EE702DAC37}"/>
              </a:ext>
            </a:extLst>
          </p:cNvPr>
          <p:cNvSpPr txBox="1">
            <a:spLocks/>
          </p:cNvSpPr>
          <p:nvPr/>
        </p:nvSpPr>
        <p:spPr>
          <a:xfrm>
            <a:off x="991986" y="1649197"/>
            <a:ext cx="9346830" cy="3095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b="1" u="sng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US" sz="1600" dirty="0">
              <a:sym typeface="Wingdings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ym typeface="Wingdings" pitchFamily="2" charset="2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5B19493-5877-CD43-BC3D-9D9B1CE98E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19867" y="1463512"/>
            <a:ext cx="6874933" cy="4919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3506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Outline and Motivation</a:t>
            </a:r>
            <a:endParaRPr lang="en-GB" sz="3200" dirty="0"/>
          </a:p>
        </p:txBody>
      </p:sp>
      <p:pic>
        <p:nvPicPr>
          <p:cNvPr id="55" name="Image 54" descr="Une image contenant texte&#10;&#10;Description générée automatiquement">
            <a:extLst>
              <a:ext uri="{FF2B5EF4-FFF2-40B4-BE49-F238E27FC236}">
                <a16:creationId xmlns:a16="http://schemas.microsoft.com/office/drawing/2014/main" id="{836A739C-CA2A-C6A4-1F78-07A724B86B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6B356F9-E245-557A-D923-6A9F72A737AA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b="1" dirty="0">
              <a:latin typeface="Hurme Geometric Sans 4 SemiBold" panose="020B0A00020000000000" pitchFamily="34" charset="77"/>
              <a:sym typeface="Wingdings" pitchFamily="2" charset="2"/>
            </a:endParaRP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2A1DD48-ABCF-9B4C-96F8-E132E2960F6C}"/>
              </a:ext>
            </a:extLst>
          </p:cNvPr>
          <p:cNvSpPr txBox="1">
            <a:spLocks/>
          </p:cNvSpPr>
          <p:nvPr/>
        </p:nvSpPr>
        <p:spPr>
          <a:xfrm>
            <a:off x="1000418" y="11367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… for two fields of study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2C80F73C-8EFC-6544-AB69-2F34405E5C3B}"/>
              </a:ext>
            </a:extLst>
          </p:cNvPr>
          <p:cNvSpPr txBox="1">
            <a:spLocks/>
          </p:cNvSpPr>
          <p:nvPr/>
        </p:nvSpPr>
        <p:spPr>
          <a:xfrm>
            <a:off x="470743" y="1768312"/>
            <a:ext cx="10362357" cy="3857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Poisoning</a:t>
            </a:r>
            <a:r>
              <a:rPr lang="en-US" sz="1600" dirty="0">
                <a:sym typeface="Wingdings" pitchFamily="2" charset="2"/>
              </a:rPr>
              <a:t> attacks are new in the field of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rankings</a:t>
            </a:r>
            <a:r>
              <a:rPr lang="en-US" sz="1600" dirty="0">
                <a:sym typeface="Wingdings" pitchFamily="2" charset="2"/>
              </a:rPr>
              <a:t>, which have many applications in </a:t>
            </a:r>
            <a:r>
              <a:rPr lang="en-US" sz="1600" b="1" dirty="0">
                <a:sym typeface="Wingdings" pitchFamily="2" charset="2"/>
              </a:rPr>
              <a:t>Recommender Systems:</a:t>
            </a:r>
          </a:p>
          <a:p>
            <a:pPr marL="742939" lvl="1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ym typeface="Wingdings" pitchFamily="2" charset="2"/>
              </a:rPr>
              <a:t>Top-k ranking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(</a:t>
            </a:r>
            <a:r>
              <a:rPr lang="en-US" sz="1600" dirty="0" err="1">
                <a:solidFill>
                  <a:schemeClr val="tx1"/>
                </a:solidFill>
                <a:sym typeface="Wingdings" pitchFamily="2" charset="2"/>
              </a:rPr>
              <a:t>eg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 Google search)</a:t>
            </a:r>
          </a:p>
          <a:p>
            <a:pPr marL="742939" lvl="1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ym typeface="Wingdings" pitchFamily="2" charset="2"/>
              </a:rPr>
              <a:t>Learning-to-rank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 (Movies, product recommendation)</a:t>
            </a:r>
          </a:p>
          <a:p>
            <a:pPr lvl="1"/>
            <a:endParaRPr lang="en-US" sz="1600" dirty="0">
              <a:solidFill>
                <a:schemeClr val="tx1"/>
              </a:solidFill>
              <a:sym typeface="Wingdings" pitchFamily="2" charset="2"/>
            </a:endParaRPr>
          </a:p>
          <a:p>
            <a:pPr lvl="1"/>
            <a:endParaRPr lang="en-US" sz="1600" dirty="0">
              <a:solidFill>
                <a:schemeClr val="tx1"/>
              </a:solidFill>
              <a:sym typeface="Wingdings" pitchFamily="2" charset="2"/>
            </a:endParaRPr>
          </a:p>
          <a:p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Evasion</a:t>
            </a:r>
            <a:r>
              <a:rPr lang="en-US" sz="1600" dirty="0">
                <a:sym typeface="Wingdings" pitchFamily="2" charset="2"/>
              </a:rPr>
              <a:t> attacks are currently deeply studied in </a:t>
            </a: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deep learning</a:t>
            </a:r>
            <a:r>
              <a:rPr lang="en-US" sz="1600" dirty="0">
                <a:sym typeface="Wingdings" pitchFamily="2" charset="2"/>
              </a:rPr>
              <a:t>, mainly for </a:t>
            </a:r>
            <a:r>
              <a:rPr lang="en-US" sz="1600" b="1" dirty="0">
                <a:sym typeface="Wingdings" pitchFamily="2" charset="2"/>
              </a:rPr>
              <a:t>Image Classification </a:t>
            </a:r>
            <a:r>
              <a:rPr lang="en-US" sz="1600" dirty="0">
                <a:sym typeface="Wingdings" pitchFamily="2" charset="2"/>
              </a:rPr>
              <a:t>applications:</a:t>
            </a:r>
          </a:p>
          <a:p>
            <a:pPr marL="742939" lvl="1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ym typeface="Wingdings" pitchFamily="2" charset="2"/>
              </a:rPr>
              <a:t>Industrial safety applications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(airport</a:t>
            </a:r>
            <a:r>
              <a:rPr lang="en-US" sz="1600" dirty="0">
                <a:sym typeface="Wingdings" pitchFamily="2" charset="2"/>
              </a:rPr>
              <a:t>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recognition systems, self-driving cars, etc.)</a:t>
            </a:r>
          </a:p>
          <a:p>
            <a:pPr marL="742939" lvl="1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ym typeface="Wingdings" pitchFamily="2" charset="2"/>
              </a:rPr>
              <a:t>Improve NNs performance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(link with generalization, etc.)</a:t>
            </a:r>
            <a:endParaRPr lang="en-US" sz="160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6128310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Outline and Motivation</a:t>
            </a:r>
            <a:endParaRPr lang="en-GB" sz="3200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E22348E-1982-3E6C-6CA0-E33E7CB68247}"/>
              </a:ext>
            </a:extLst>
          </p:cNvPr>
          <p:cNvSpPr txBox="1">
            <a:spLocks/>
          </p:cNvSpPr>
          <p:nvPr/>
        </p:nvSpPr>
        <p:spPr>
          <a:xfrm>
            <a:off x="464452" y="1801852"/>
            <a:ext cx="9976086" cy="50561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u="sng" dirty="0">
                <a:sym typeface="Wingdings" pitchFamily="2" charset="2"/>
              </a:rPr>
              <a:t>Pioneering the study of Robustness for Ranking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Body of works </a:t>
            </a:r>
            <a:r>
              <a:rPr lang="en-US" sz="1600" dirty="0">
                <a:sym typeface="Wingdings" pitchFamily="2" charset="2"/>
              </a:rPr>
              <a:t>that study the </a:t>
            </a:r>
            <a:r>
              <a:rPr lang="en-US" sz="1600" i="1" dirty="0">
                <a:sym typeface="Wingdings" pitchFamily="2" charset="2"/>
              </a:rPr>
              <a:t>Consensus Ranking Task</a:t>
            </a:r>
            <a:r>
              <a:rPr lang="en-US" sz="1600" dirty="0">
                <a:sym typeface="Wingdings" pitchFamily="2" charset="2"/>
              </a:rPr>
              <a:t>, e.g.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[Condorcet 1785], 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Kemeny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 1959], 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Dwork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 et al. 2001], [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Korba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 et al. 2017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Very few works </a:t>
            </a:r>
            <a:r>
              <a:rPr lang="en-US" sz="1600" dirty="0">
                <a:sym typeface="Wingdings" pitchFamily="2" charset="2"/>
              </a:rPr>
              <a:t>on robustness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[Agarwal et al. 2020]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Challenges</a:t>
            </a:r>
            <a:r>
              <a:rPr lang="en-US" sz="1600" dirty="0">
                <a:sym typeface="Wingdings" pitchFamily="2" charset="2"/>
              </a:rPr>
              <a:t> come from the nature of the space: it is n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ot a vector space and it has a combinatorial nature.</a:t>
            </a:r>
          </a:p>
          <a:p>
            <a:pPr marL="285750" indent="-285750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sym typeface="Wingdings" pitchFamily="2" charset="2"/>
              </a:rPr>
              <a:t>Contributions 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[MG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Clémençon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Irurozki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, </a:t>
            </a:r>
            <a:r>
              <a:rPr lang="fr-FR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Mozharovskyi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2022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], [MG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Calauzènes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Irurozki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, </a:t>
            </a:r>
            <a:r>
              <a:rPr lang="en-US" sz="1600" dirty="0" err="1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Clémençon</a:t>
            </a:r>
            <a:r>
              <a:rPr lang="en-US" sz="1600" dirty="0">
                <a:solidFill>
                  <a:schemeClr val="accent6">
                    <a:lumMod val="60000"/>
                    <a:lumOff val="40000"/>
                  </a:schemeClr>
                </a:solidFill>
                <a:sym typeface="Wingdings" pitchFamily="2" charset="2"/>
              </a:rPr>
              <a:t>, 2023]</a:t>
            </a:r>
          </a:p>
          <a:p>
            <a:pPr marL="742939" lvl="1" indent="-285750">
              <a:spcBef>
                <a:spcPts val="300"/>
              </a:spcBef>
              <a:buFontTx/>
              <a:buChar char="-"/>
            </a:pP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Introduction of </a:t>
            </a:r>
            <a:r>
              <a:rPr lang="en-US" sz="1600" dirty="0">
                <a:solidFill>
                  <a:schemeClr val="accent4">
                    <a:lumMod val="50000"/>
                  </a:schemeClr>
                </a:solidFill>
                <a:sym typeface="Wingdings" pitchFamily="2" charset="2"/>
              </a:rPr>
              <a:t>depth functions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to get orders on rankings</a:t>
            </a:r>
          </a:p>
          <a:p>
            <a:pPr marL="742939" lvl="1" indent="-285750">
              <a:spcBef>
                <a:spcPts val="300"/>
              </a:spcBef>
              <a:buFontTx/>
              <a:buChar char="-"/>
            </a:pPr>
            <a:r>
              <a:rPr lang="en-US" sz="1600" dirty="0">
                <a:solidFill>
                  <a:schemeClr val="accent4">
                    <a:lumMod val="50000"/>
                  </a:schemeClr>
                </a:solidFill>
                <a:sym typeface="Wingdings" pitchFamily="2" charset="2"/>
              </a:rPr>
              <a:t>Trimming strategy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to </a:t>
            </a:r>
            <a:r>
              <a:rPr lang="en-US" sz="1600" dirty="0" err="1">
                <a:solidFill>
                  <a:schemeClr val="tx1"/>
                </a:solidFill>
                <a:sym typeface="Wingdings" pitchFamily="2" charset="2"/>
              </a:rPr>
              <a:t>robustify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 consensus ranking</a:t>
            </a:r>
          </a:p>
          <a:p>
            <a:pPr marL="742939" lvl="1" indent="-285750">
              <a:spcBef>
                <a:spcPts val="300"/>
              </a:spcBef>
              <a:buFontTx/>
              <a:buChar char="-"/>
            </a:pPr>
            <a:r>
              <a:rPr lang="en-US" sz="1600" dirty="0">
                <a:solidFill>
                  <a:schemeClr val="accent4">
                    <a:lumMod val="50000"/>
                  </a:schemeClr>
                </a:solidFill>
                <a:sym typeface="Wingdings" pitchFamily="2" charset="2"/>
              </a:rPr>
              <a:t>Evaluation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 of robustness of consensus statistics through </a:t>
            </a:r>
            <a:r>
              <a:rPr lang="en-US" sz="1600" dirty="0">
                <a:solidFill>
                  <a:schemeClr val="accent4">
                    <a:lumMod val="50000"/>
                  </a:schemeClr>
                </a:solidFill>
                <a:sym typeface="Wingdings" pitchFamily="2" charset="2"/>
              </a:rPr>
              <a:t>breakdown functions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(theoretical &amp; algorithmic)</a:t>
            </a:r>
          </a:p>
          <a:p>
            <a:pPr marL="742939" lvl="1" indent="-285750">
              <a:spcBef>
                <a:spcPts val="300"/>
              </a:spcBef>
              <a:buFontTx/>
              <a:buChar char="-"/>
            </a:pPr>
            <a:r>
              <a:rPr lang="en-US" sz="1600" dirty="0">
                <a:solidFill>
                  <a:schemeClr val="accent4">
                    <a:lumMod val="50000"/>
                  </a:schemeClr>
                </a:solidFill>
                <a:sym typeface="Wingdings" pitchFamily="2" charset="2"/>
              </a:rPr>
              <a:t>Bucket-based plugin 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to </a:t>
            </a:r>
            <a:r>
              <a:rPr lang="en-US" sz="1600" dirty="0" err="1">
                <a:solidFill>
                  <a:schemeClr val="tx1"/>
                </a:solidFill>
                <a:sym typeface="Wingdings" pitchFamily="2" charset="2"/>
              </a:rPr>
              <a:t>robustify</a:t>
            </a:r>
            <a:r>
              <a:rPr lang="en-US" sz="1600" dirty="0">
                <a:solidFill>
                  <a:schemeClr val="tx1"/>
                </a:solidFill>
                <a:sym typeface="Wingdings" pitchFamily="2" charset="2"/>
              </a:rPr>
              <a:t> consensus statistics</a:t>
            </a:r>
          </a:p>
        </p:txBody>
      </p:sp>
      <p:pic>
        <p:nvPicPr>
          <p:cNvPr id="55" name="Image 54" descr="Une image contenant texte&#10;&#10;Description générée automatiquement">
            <a:extLst>
              <a:ext uri="{FF2B5EF4-FFF2-40B4-BE49-F238E27FC236}">
                <a16:creationId xmlns:a16="http://schemas.microsoft.com/office/drawing/2014/main" id="{836A739C-CA2A-C6A4-1F78-07A724B86B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6B356F9-E245-557A-D923-6A9F72A737AA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b="1" dirty="0">
              <a:latin typeface="Hurme Geometric Sans 4 SemiBold" panose="020B0A00020000000000" pitchFamily="34" charset="77"/>
              <a:sym typeface="Wingdings" pitchFamily="2" charset="2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D9AEE5A-17A0-8349-83EB-9DB1E98DD59A}"/>
              </a:ext>
            </a:extLst>
          </p:cNvPr>
          <p:cNvSpPr txBox="1">
            <a:spLocks/>
          </p:cNvSpPr>
          <p:nvPr/>
        </p:nvSpPr>
        <p:spPr>
          <a:xfrm>
            <a:off x="1000418" y="11367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Overview of main contributions 1/2</a:t>
            </a:r>
          </a:p>
        </p:txBody>
      </p:sp>
    </p:spTree>
    <p:extLst>
      <p:ext uri="{BB962C8B-B14F-4D97-AF65-F5344CB8AC3E}">
        <p14:creationId xmlns:p14="http://schemas.microsoft.com/office/powerpoint/2010/main" val="15694424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A9571-55B6-4F3F-AE5A-A7AC8E15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2" y="396811"/>
            <a:ext cx="10208027" cy="817529"/>
          </a:xfrm>
        </p:spPr>
        <p:txBody>
          <a:bodyPr>
            <a:normAutofit/>
          </a:bodyPr>
          <a:lstStyle/>
          <a:p>
            <a:r>
              <a:rPr lang="en-US" sz="3200" dirty="0"/>
              <a:t>Outline and Motivation</a:t>
            </a:r>
            <a:endParaRPr lang="en-GB" sz="3200" dirty="0"/>
          </a:p>
        </p:txBody>
      </p:sp>
      <p:pic>
        <p:nvPicPr>
          <p:cNvPr id="55" name="Image 54" descr="Une image contenant texte&#10;&#10;Description générée automatiquement">
            <a:extLst>
              <a:ext uri="{FF2B5EF4-FFF2-40B4-BE49-F238E27FC236}">
                <a16:creationId xmlns:a16="http://schemas.microsoft.com/office/drawing/2014/main" id="{836A739C-CA2A-C6A4-1F78-07A724B86B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6B356F9-E245-557A-D923-6A9F72A737AA}"/>
              </a:ext>
            </a:extLst>
          </p:cNvPr>
          <p:cNvSpPr txBox="1">
            <a:spLocks/>
          </p:cNvSpPr>
          <p:nvPr/>
        </p:nvSpPr>
        <p:spPr>
          <a:xfrm>
            <a:off x="1375553" y="9843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b="1" dirty="0">
              <a:latin typeface="Hurme Geometric Sans 4 SemiBold" panose="020B0A00020000000000" pitchFamily="34" charset="77"/>
              <a:sym typeface="Wingdings" pitchFamily="2" charset="2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D9AEE5A-17A0-8349-83EB-9DB1E98DD59A}"/>
              </a:ext>
            </a:extLst>
          </p:cNvPr>
          <p:cNvSpPr txBox="1">
            <a:spLocks/>
          </p:cNvSpPr>
          <p:nvPr/>
        </p:nvSpPr>
        <p:spPr>
          <a:xfrm>
            <a:off x="1000418" y="1136723"/>
            <a:ext cx="6380309" cy="4791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latin typeface="Hurme Geometric Sans 4 SemiBold" panose="020B0A00020000000000" pitchFamily="34" charset="77"/>
                <a:sym typeface="Wingdings" pitchFamily="2" charset="2"/>
              </a:rPr>
              <a:t>Overview of main contributions 2/2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C72B09F-C28C-F241-84E5-84761AC573C3}"/>
              </a:ext>
            </a:extLst>
          </p:cNvPr>
          <p:cNvSpPr txBox="1">
            <a:spLocks/>
          </p:cNvSpPr>
          <p:nvPr/>
        </p:nvSpPr>
        <p:spPr>
          <a:xfrm>
            <a:off x="464452" y="1811800"/>
            <a:ext cx="11193513" cy="43189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HurmeGeometricSans1 Regular" panose="020B0500020000000000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u="sng" dirty="0" err="1"/>
              <a:t>Understanding</a:t>
            </a:r>
            <a:r>
              <a:rPr lang="fr-FR" sz="1600" u="sng" dirty="0"/>
              <a:t> and </a:t>
            </a:r>
            <a:r>
              <a:rPr lang="fr-FR" sz="1600" u="sng" dirty="0" err="1"/>
              <a:t>Unifying</a:t>
            </a:r>
            <a:r>
              <a:rPr lang="fr-FR" sz="1600" u="sng" dirty="0"/>
              <a:t> </a:t>
            </a:r>
            <a:r>
              <a:rPr lang="fr-FR" sz="1600" u="sng" dirty="0" err="1"/>
              <a:t>Recent</a:t>
            </a:r>
            <a:r>
              <a:rPr lang="fr-FR" sz="1600" u="sng" dirty="0"/>
              <a:t> </a:t>
            </a:r>
            <a:r>
              <a:rPr lang="fr-FR" sz="1600" u="sng" dirty="0" err="1"/>
              <a:t>Advances</a:t>
            </a:r>
            <a:r>
              <a:rPr lang="fr-FR" sz="1600" u="sng" dirty="0"/>
              <a:t> on </a:t>
            </a:r>
            <a:r>
              <a:rPr lang="fr-FR" sz="1600" u="sng" dirty="0" err="1"/>
              <a:t>Adversarial</a:t>
            </a:r>
            <a:r>
              <a:rPr lang="fr-FR" sz="1600" u="sng" dirty="0"/>
              <a:t> </a:t>
            </a:r>
            <a:r>
              <a:rPr lang="fr-FR" sz="1600" u="sng" dirty="0" err="1"/>
              <a:t>Robustness</a:t>
            </a:r>
            <a:r>
              <a:rPr lang="fr-FR" sz="1600" u="sng" dirty="0"/>
              <a:t> </a:t>
            </a:r>
            <a:endParaRPr lang="en-US" sz="1600" u="sng" dirty="0">
              <a:sym typeface="Wingdings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Large body of </a:t>
            </a:r>
            <a:r>
              <a:rPr lang="fr-FR" sz="1600" dirty="0" err="1">
                <a:solidFill>
                  <a:schemeClr val="tx2"/>
                </a:solidFill>
              </a:rPr>
              <a:t>works</a:t>
            </a:r>
            <a:r>
              <a:rPr lang="fr-FR" sz="1600" dirty="0">
                <a:solidFill>
                  <a:schemeClr val="tx2"/>
                </a:solidFill>
              </a:rPr>
              <a:t> </a:t>
            </a:r>
            <a:r>
              <a:rPr lang="fr-FR" sz="1600" dirty="0" err="1"/>
              <a:t>crafting</a:t>
            </a:r>
            <a:r>
              <a:rPr lang="fr-FR" sz="1600" dirty="0"/>
              <a:t> </a:t>
            </a:r>
            <a:r>
              <a:rPr lang="fr-FR" sz="1600" dirty="0" err="1"/>
              <a:t>attacks</a:t>
            </a:r>
            <a:r>
              <a:rPr lang="fr-FR" sz="1600" dirty="0"/>
              <a:t> and </a:t>
            </a:r>
            <a:r>
              <a:rPr lang="fr-FR" sz="1600" dirty="0" err="1"/>
              <a:t>defense</a:t>
            </a:r>
            <a:r>
              <a:rPr lang="fr-FR" sz="1600" dirty="0"/>
              <a:t> </a:t>
            </a:r>
            <a:r>
              <a:rPr lang="fr-FR" sz="1600" dirty="0" err="1"/>
              <a:t>methods</a:t>
            </a:r>
            <a:r>
              <a:rPr lang="fr-FR" sz="1600" dirty="0"/>
              <a:t> or </a:t>
            </a:r>
            <a:r>
              <a:rPr lang="fr-FR" sz="1600" dirty="0" err="1"/>
              <a:t>providing</a:t>
            </a:r>
            <a:r>
              <a:rPr lang="fr-FR" sz="1600" dirty="0"/>
              <a:t> </a:t>
            </a:r>
            <a:r>
              <a:rPr lang="fr-FR" sz="1600" dirty="0" err="1"/>
              <a:t>theoretical</a:t>
            </a:r>
            <a:r>
              <a:rPr lang="fr-FR" sz="1600" dirty="0"/>
              <a:t> </a:t>
            </a:r>
            <a:r>
              <a:rPr lang="fr-FR" sz="1600" dirty="0" err="1"/>
              <a:t>bounds</a:t>
            </a:r>
            <a:r>
              <a:rPr lang="fr-FR" sz="1600" dirty="0"/>
              <a:t> on the </a:t>
            </a:r>
            <a:r>
              <a:rPr lang="fr-FR" sz="1600" dirty="0" err="1"/>
              <a:t>vulnerability</a:t>
            </a:r>
            <a:r>
              <a:rPr lang="fr-FR" sz="1600" dirty="0"/>
              <a:t> of </a:t>
            </a:r>
            <a:r>
              <a:rPr lang="fr-FR" sz="1600" dirty="0" err="1"/>
              <a:t>models</a:t>
            </a:r>
            <a:r>
              <a:rPr lang="fr-FR" sz="1600" dirty="0"/>
              <a:t> or </a:t>
            </a:r>
            <a:r>
              <a:rPr lang="fr-FR" sz="1600" dirty="0" err="1"/>
              <a:t>providing</a:t>
            </a:r>
            <a:r>
              <a:rPr lang="fr-FR" sz="1600" dirty="0"/>
              <a:t> </a:t>
            </a:r>
            <a:r>
              <a:rPr lang="fr-FR" sz="1600" dirty="0" err="1"/>
              <a:t>explanation</a:t>
            </a:r>
            <a:r>
              <a:rPr lang="fr-FR" sz="1600" dirty="0"/>
              <a:t> for the </a:t>
            </a:r>
            <a:r>
              <a:rPr lang="fr-FR" sz="1600" dirty="0" err="1"/>
              <a:t>success</a:t>
            </a:r>
            <a:r>
              <a:rPr lang="fr-FR" sz="1600" dirty="0"/>
              <a:t> of </a:t>
            </a:r>
            <a:r>
              <a:rPr lang="fr-FR" sz="1600" dirty="0" err="1"/>
              <a:t>adversarial</a:t>
            </a:r>
            <a:r>
              <a:rPr lang="fr-FR" sz="1600" dirty="0"/>
              <a:t> </a:t>
            </a:r>
            <a:r>
              <a:rPr lang="fr-FR" sz="1600" dirty="0" err="1"/>
              <a:t>attacks</a:t>
            </a:r>
            <a:r>
              <a:rPr lang="fr-FR" sz="1600" dirty="0"/>
              <a:t>, </a:t>
            </a:r>
            <a:r>
              <a:rPr lang="fr-FR" sz="1600" dirty="0" err="1"/>
              <a:t>e.g</a:t>
            </a:r>
            <a:r>
              <a:rPr lang="fr-FR" sz="1600" dirty="0"/>
              <a:t>. 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</a:t>
            </a:r>
            <a:r>
              <a:rPr lang="fr-FR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Szegedy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3], [</a:t>
            </a:r>
            <a:r>
              <a:rPr lang="fr-FR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Goodfellow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4], [</a:t>
            </a:r>
            <a:r>
              <a:rPr lang="fr-FR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Madry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8] [</a:t>
            </a:r>
            <a:r>
              <a:rPr lang="fr-FR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Moosavi-Dezfooli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et al. 2016 and 2017], [</a:t>
            </a:r>
            <a:r>
              <a:rPr lang="fr-FR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Dohmatob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2019]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Challenges</a:t>
            </a:r>
            <a:r>
              <a:rPr lang="fr-FR" sz="1600" dirty="0"/>
              <a:t> come </a:t>
            </a:r>
            <a:r>
              <a:rPr lang="fr-FR" sz="1600" dirty="0" err="1"/>
              <a:t>from</a:t>
            </a:r>
            <a:r>
              <a:rPr lang="fr-FR" sz="1600" dirty="0"/>
              <a:t> the </a:t>
            </a:r>
            <a:r>
              <a:rPr lang="fr-FR" sz="1600" dirty="0" err="1"/>
              <a:t>lack</a:t>
            </a:r>
            <a:r>
              <a:rPr lang="fr-FR" sz="1600" dirty="0"/>
              <a:t> of unification and </a:t>
            </a:r>
            <a:r>
              <a:rPr lang="fr-FR" sz="1600" dirty="0" err="1"/>
              <a:t>understanding</a:t>
            </a:r>
            <a:r>
              <a:rPr lang="fr-FR" sz="1600" dirty="0"/>
              <a:t> of the </a:t>
            </a:r>
            <a:r>
              <a:rPr lang="fr-FR" sz="1600" dirty="0" err="1"/>
              <a:t>phenomenon</a:t>
            </a:r>
            <a:r>
              <a:rPr lang="fr-FR" sz="1600" dirty="0"/>
              <a:t>, as </a:t>
            </a:r>
            <a:r>
              <a:rPr lang="fr-FR" sz="1600" dirty="0" err="1"/>
              <a:t>it</a:t>
            </a:r>
            <a:r>
              <a:rPr lang="fr-FR" sz="1600" dirty="0"/>
              <a:t> </a:t>
            </a:r>
            <a:r>
              <a:rPr lang="fr-FR" sz="1600" dirty="0" err="1"/>
              <a:t>is</a:t>
            </a:r>
            <a:r>
              <a:rPr lang="fr-FR" sz="1600" dirty="0"/>
              <a:t> </a:t>
            </a:r>
            <a:r>
              <a:rPr lang="fr-FR" sz="1600" dirty="0" err="1"/>
              <a:t>very</a:t>
            </a:r>
            <a:r>
              <a:rPr lang="fr-FR" sz="1600" dirty="0"/>
              <a:t> hard to </a:t>
            </a:r>
            <a:r>
              <a:rPr lang="fr-FR" sz="1600" dirty="0" err="1"/>
              <a:t>study</a:t>
            </a:r>
            <a:r>
              <a:rPr lang="fr-FR" sz="1600" dirty="0"/>
              <a:t> </a:t>
            </a:r>
            <a:r>
              <a:rPr lang="fr-FR" sz="1600" dirty="0" err="1"/>
              <a:t>theoretically</a:t>
            </a:r>
            <a:r>
              <a:rPr lang="fr-FR" sz="1600" dirty="0"/>
              <a:t>.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Contributions 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[MG, </a:t>
            </a:r>
            <a:r>
              <a:rPr lang="fr-FR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Ricatte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</a:t>
            </a:r>
            <a:r>
              <a:rPr lang="fr-FR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Dohmatob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2022], [MG, </a:t>
            </a:r>
            <a:r>
              <a:rPr lang="fr-FR" sz="16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Dohmatob</a:t>
            </a:r>
            <a:r>
              <a:rPr lang="fr-FR" sz="16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, Guo, 2023]</a:t>
            </a:r>
          </a:p>
          <a:p>
            <a:pPr marL="742939" lvl="1" indent="-285750">
              <a:spcBef>
                <a:spcPts val="300"/>
              </a:spcBef>
              <a:buFontTx/>
              <a:buChar char="-"/>
            </a:pP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Topological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study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>
                <a:solidFill>
                  <a:schemeClr val="tx1"/>
                </a:solidFill>
              </a:rPr>
              <a:t>of Neural Networks</a:t>
            </a:r>
          </a:p>
          <a:p>
            <a:pPr marL="742939" lvl="1" indent="-285750">
              <a:spcBef>
                <a:spcPts val="300"/>
              </a:spcBef>
              <a:buFontTx/>
              <a:buChar char="-"/>
            </a:pPr>
            <a:r>
              <a:rPr lang="fr-FR" sz="1600" dirty="0">
                <a:solidFill>
                  <a:schemeClr val="tx1"/>
                </a:solidFill>
              </a:rPr>
              <a:t>The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under-optimized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edge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hypothesis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that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gather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several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previously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unveiled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characteristics</a:t>
            </a:r>
            <a:r>
              <a:rPr lang="fr-FR" sz="1600" dirty="0">
                <a:solidFill>
                  <a:schemeClr val="tx1"/>
                </a:solidFill>
              </a:rPr>
              <a:t> of </a:t>
            </a:r>
            <a:r>
              <a:rPr lang="fr-FR" sz="1600" dirty="0" err="1">
                <a:solidFill>
                  <a:schemeClr val="tx1"/>
                </a:solidFill>
              </a:rPr>
              <a:t>adversarial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ttacks</a:t>
            </a:r>
            <a:endParaRPr lang="fr-FR" sz="1600" dirty="0">
              <a:solidFill>
                <a:schemeClr val="tx1"/>
              </a:solidFill>
            </a:endParaRPr>
          </a:p>
          <a:p>
            <a:pPr marL="742939" lvl="1" indent="-285750">
              <a:spcBef>
                <a:spcPts val="300"/>
              </a:spcBef>
              <a:buFontTx/>
              <a:buChar char="-"/>
            </a:pPr>
            <a:r>
              <a:rPr lang="fr-FR" sz="1600" dirty="0">
                <a:solidFill>
                  <a:schemeClr val="tx1"/>
                </a:solidFill>
              </a:rPr>
              <a:t>The 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PGD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detection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method</a:t>
            </a:r>
            <a:endParaRPr lang="fr-FR" sz="1600" dirty="0">
              <a:solidFill>
                <a:schemeClr val="accent4">
                  <a:lumMod val="50000"/>
                </a:schemeClr>
              </a:solidFill>
            </a:endParaRPr>
          </a:p>
          <a:p>
            <a:pPr marL="742939" lvl="1" indent="-285750">
              <a:spcBef>
                <a:spcPts val="300"/>
              </a:spcBef>
              <a:buFontTx/>
              <a:buChar char="-"/>
            </a:pP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Theoretical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analysis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>
                <a:solidFill>
                  <a:schemeClr val="tx1"/>
                </a:solidFill>
              </a:rPr>
              <a:t>of </a:t>
            </a:r>
            <a:r>
              <a:rPr lang="fr-FR" sz="1600" dirty="0" err="1">
                <a:solidFill>
                  <a:schemeClr val="tx1"/>
                </a:solidFill>
              </a:rPr>
              <a:t>universal</a:t>
            </a:r>
            <a:r>
              <a:rPr lang="fr-FR" sz="1600" dirty="0">
                <a:solidFill>
                  <a:schemeClr val="tx1"/>
                </a:solidFill>
              </a:rPr>
              <a:t>/</a:t>
            </a:r>
            <a:r>
              <a:rPr lang="fr-FR" sz="1600" dirty="0" err="1">
                <a:solidFill>
                  <a:schemeClr val="tx1"/>
                </a:solidFill>
              </a:rPr>
              <a:t>low-dimensional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ttacks</a:t>
            </a:r>
            <a:endParaRPr lang="fr-FR" sz="1600" dirty="0">
              <a:solidFill>
                <a:schemeClr val="tx1"/>
              </a:solidFill>
            </a:endParaRPr>
          </a:p>
          <a:p>
            <a:pPr marL="742939" lvl="1" indent="-285750">
              <a:spcBef>
                <a:spcPts val="300"/>
              </a:spcBef>
              <a:buFontTx/>
              <a:buChar char="-"/>
            </a:pPr>
            <a:r>
              <a:rPr lang="fr-FR" sz="1600" dirty="0">
                <a:solidFill>
                  <a:schemeClr val="tx1"/>
                </a:solidFill>
              </a:rPr>
              <a:t>Introduction of the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adversarial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viability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of a </a:t>
            </a:r>
            <a:r>
              <a:rPr lang="fr-FR" sz="1600" dirty="0" err="1">
                <a:solidFill>
                  <a:schemeClr val="accent4">
                    <a:lumMod val="50000"/>
                  </a:schemeClr>
                </a:solidFill>
              </a:rPr>
              <a:t>subspace</a:t>
            </a:r>
            <a:r>
              <a:rPr lang="fr-FR" sz="16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fr-FR" sz="1600" dirty="0">
                <a:solidFill>
                  <a:schemeClr val="tx1"/>
                </a:solidFill>
              </a:rPr>
              <a:t>and </a:t>
            </a:r>
            <a:r>
              <a:rPr lang="fr-FR" sz="1600" dirty="0" err="1">
                <a:solidFill>
                  <a:schemeClr val="tx1"/>
                </a:solidFill>
              </a:rPr>
              <a:t>geometric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dirty="0" err="1">
                <a:solidFill>
                  <a:schemeClr val="tx1"/>
                </a:solidFill>
              </a:rPr>
              <a:t>analysis</a:t>
            </a:r>
            <a:endParaRPr lang="fr-FR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0971454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41BACE-647B-4FD1-9C69-FD868CBE2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3072" y="727202"/>
            <a:ext cx="7856735" cy="3254400"/>
          </a:xfrm>
        </p:spPr>
        <p:txBody>
          <a:bodyPr>
            <a:normAutofit/>
          </a:bodyPr>
          <a:lstStyle/>
          <a:p>
            <a:r>
              <a:rPr lang="en-US" dirty="0">
                <a:sym typeface="Wingdings" pitchFamily="2" charset="2"/>
              </a:rPr>
              <a:t>Robust Consensus Ranking via Bucket-based Plugin</a:t>
            </a:r>
          </a:p>
        </p:txBody>
      </p: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2E872277-AE56-5715-F673-0F70C29CF3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33100" y="4913376"/>
            <a:ext cx="824865" cy="121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483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iteo Data &amp; Insights 2021 - Sunrise">
  <a:themeElements>
    <a:clrScheme name="Criteo Core 2021">
      <a:dk1>
        <a:srgbClr val="2A2E33"/>
      </a:dk1>
      <a:lt1>
        <a:srgbClr val="FFFFFF"/>
      </a:lt1>
      <a:dk2>
        <a:srgbClr val="FE5000"/>
      </a:dk2>
      <a:lt2>
        <a:srgbClr val="F8F9FB"/>
      </a:lt2>
      <a:accent1>
        <a:srgbClr val="5D0054"/>
      </a:accent1>
      <a:accent2>
        <a:srgbClr val="006CD6"/>
      </a:accent2>
      <a:accent3>
        <a:srgbClr val="D1D5E6"/>
      </a:accent3>
      <a:accent4>
        <a:srgbClr val="FFEDCC"/>
      </a:accent4>
      <a:accent5>
        <a:srgbClr val="DEF9BB"/>
      </a:accent5>
      <a:accent6>
        <a:srgbClr val="130183"/>
      </a:accent6>
      <a:hlink>
        <a:srgbClr val="FE5000"/>
      </a:hlink>
      <a:folHlink>
        <a:srgbClr val="727983"/>
      </a:folHlink>
    </a:clrScheme>
    <a:fontScheme name="Criteo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rgbClr val="F68926"/>
            </a:gs>
            <a:gs pos="100000">
              <a:srgbClr val="F26333"/>
            </a:gs>
          </a:gsLst>
          <a:lin ang="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riteo-PowerPoint-2019" id="{EBF76EDA-420A-F64E-A9BE-54736C28FD53}" vid="{F9263D1A-E365-1343-BDF1-D133FA64F06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032AA29-7AFC-344F-9242-4AB4F59D4EF3}">
  <we:reference id="wa104381063" version="1.0.0.0" store="en-US" storeType="OMEX"/>
  <we:alternateReferences>
    <we:reference id="wa104381063" version="1.0.0.0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1D4C1BB470CB409830BF5F910AF911" ma:contentTypeVersion="4" ma:contentTypeDescription="Create a new document." ma:contentTypeScope="" ma:versionID="02c1727c3877a940443dbfbff1b09781">
  <xsd:schema xmlns:xsd="http://www.w3.org/2001/XMLSchema" xmlns:xs="http://www.w3.org/2001/XMLSchema" xmlns:p="http://schemas.microsoft.com/office/2006/metadata/properties" xmlns:ns2="fd182274-fa79-490a-b575-4edd8cd81536" xmlns:ns3="e0fbab11-d6ff-4826-9339-e14db144c4e8" targetNamespace="http://schemas.microsoft.com/office/2006/metadata/properties" ma:root="true" ma:fieldsID="cec1e996a8ffdaf7956f37867d2f4421" ns2:_="" ns3:_="">
    <xsd:import namespace="fd182274-fa79-490a-b575-4edd8cd81536"/>
    <xsd:import namespace="e0fbab11-d6ff-4826-9339-e14db144c4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182274-fa79-490a-b575-4edd8cd815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bab11-d6ff-4826-9339-e14db144c4e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0fbab11-d6ff-4826-9339-e14db144c4e8">
      <UserInfo>
        <DisplayName>Kelsey Wahl</DisplayName>
        <AccountId>57</AccountId>
        <AccountType/>
      </UserInfo>
      <UserInfo>
        <DisplayName>Simon Paul</DisplayName>
        <AccountId>183</AccountId>
        <AccountType/>
      </UserInfo>
      <UserInfo>
        <DisplayName>Jack Gudgin</DisplayName>
        <AccountId>184</AccountId>
        <AccountType/>
      </UserInfo>
      <UserInfo>
        <DisplayName>Emma Routledge</DisplayName>
        <AccountId>185</AccountId>
        <AccountType/>
      </UserInfo>
      <UserInfo>
        <DisplayName>Kevin Matthys</DisplayName>
        <AccountId>19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CDEC45B-9DEE-4114-81EF-A4DA15EAB27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5276B83-E12D-4FD5-A263-790BA45B43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182274-fa79-490a-b575-4edd8cd81536"/>
    <ds:schemaRef ds:uri="e0fbab11-d6ff-4826-9339-e14db144c4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5395926-F42B-43E7-BA88-75BEFA228391}">
  <ds:schemaRefs>
    <ds:schemaRef ds:uri="3311a56c-38ce-494b-9a30-e1d2bbff2490"/>
    <ds:schemaRef ds:uri="838ca43a-51b1-4c5c-b725-307a734ebd5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e0fbab11-d6ff-4826-9339-e14db144c4e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811</TotalTime>
  <Words>4468</Words>
  <Application>Microsoft Macintosh PowerPoint</Application>
  <PresentationFormat>Grand écran</PresentationFormat>
  <Paragraphs>669</Paragraphs>
  <Slides>58</Slides>
  <Notes>2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8</vt:i4>
      </vt:variant>
    </vt:vector>
  </HeadingPairs>
  <TitlesOfParts>
    <vt:vector size="70" baseType="lpstr">
      <vt:lpstr>Arial</vt:lpstr>
      <vt:lpstr>Calibri</vt:lpstr>
      <vt:lpstr>Cambria Math</vt:lpstr>
      <vt:lpstr>Hurme FIN Mono 1a</vt:lpstr>
      <vt:lpstr>Hurme FIN Mono 1a Bold</vt:lpstr>
      <vt:lpstr>Hurme Geometric Sans 4</vt:lpstr>
      <vt:lpstr>Hurme Geometric Sans 4 Bold</vt:lpstr>
      <vt:lpstr>Hurme Geometric Sans 4 SemiBold</vt:lpstr>
      <vt:lpstr>HurmeGeometricSans1 Regular</vt:lpstr>
      <vt:lpstr>Wingdings</vt:lpstr>
      <vt:lpstr>Criteo Data &amp; Insights 2021 - Sunrise</vt:lpstr>
      <vt:lpstr>think-cell Slide</vt:lpstr>
      <vt:lpstr>PhD Defense: Statistical Understanding of Adversarial Robustness </vt:lpstr>
      <vt:lpstr>Content Overview</vt:lpstr>
      <vt:lpstr>Outline and Motivation</vt:lpstr>
      <vt:lpstr>Outline and Motivation</vt:lpstr>
      <vt:lpstr>Outline and Motivation</vt:lpstr>
      <vt:lpstr>Outline and Motivation</vt:lpstr>
      <vt:lpstr>Outline and Motivation</vt:lpstr>
      <vt:lpstr>Outline and Motivation</vt:lpstr>
      <vt:lpstr>Robust Consensus Ranking via Bucket-based Plugin</vt:lpstr>
      <vt:lpstr>Introduction</vt:lpstr>
      <vt:lpstr>Introduction</vt:lpstr>
      <vt:lpstr>Classical Methods to Solve Consensus Ranking</vt:lpstr>
      <vt:lpstr>Classical Methods in Statistical Robustness</vt:lpstr>
      <vt:lpstr>Evaluating the Robustness of Consensus Rankings</vt:lpstr>
      <vt:lpstr>Evaluating the Robustness of Consensus Rankings</vt:lpstr>
      <vt:lpstr>Evaluating the Robustness of Consensus Rankings</vt:lpstr>
      <vt:lpstr>Evaluating the Robustness of Consensus Rankings</vt:lpstr>
      <vt:lpstr>Evaluating the Robustness of Consensus Rankings</vt:lpstr>
      <vt:lpstr>Evaluating the Robustness of Consensus Rankings</vt:lpstr>
      <vt:lpstr>Bucket-Based Plugin to Robustify Consensus Statistics</vt:lpstr>
      <vt:lpstr>Robust Consensus Ranking via Bucket-based Plugin</vt:lpstr>
      <vt:lpstr>Detecting Adversarial Attacks in DNNs by Studying their Topology</vt:lpstr>
      <vt:lpstr>Introduction</vt:lpstr>
      <vt:lpstr>Introduction</vt:lpstr>
      <vt:lpstr>The Under-Optimized Edges Hypothesis</vt:lpstr>
      <vt:lpstr>The Under-Optimized Edges Hypothesis</vt:lpstr>
      <vt:lpstr>Topological Data Analysis in a Nutshell</vt:lpstr>
      <vt:lpstr>Topological Data Analysis in a Nutshell</vt:lpstr>
      <vt:lpstr>Extracting the Topological Features</vt:lpstr>
      <vt:lpstr>Extracting the Topological Features</vt:lpstr>
      <vt:lpstr>Differentiating Clean and Adversarial Inputs</vt:lpstr>
      <vt:lpstr>Differentiating Clean and Adversarial Inputs</vt:lpstr>
      <vt:lpstr>Differentiating Clean and Adversarial Inputs</vt:lpstr>
      <vt:lpstr>Adversarial Robustness and Topology of Neural Networks</vt:lpstr>
      <vt:lpstr>General Conclusion</vt:lpstr>
      <vt:lpstr>Présentation PowerPoint</vt:lpstr>
      <vt:lpstr>Bibliography</vt:lpstr>
      <vt:lpstr>Bibliography</vt:lpstr>
      <vt:lpstr>Relevant Publications</vt:lpstr>
      <vt:lpstr>Présentation PowerPoint</vt:lpstr>
      <vt:lpstr>Detecting Adversarial Attacks in DNNs by Studying their Topology</vt:lpstr>
      <vt:lpstr>Detecting Adversarial Attacks in DNNs by Studying their Topology</vt:lpstr>
      <vt:lpstr>Depth Functions for Rankings</vt:lpstr>
      <vt:lpstr>Depth Functions</vt:lpstr>
      <vt:lpstr>Depth Functions</vt:lpstr>
      <vt:lpstr>Depth Functions</vt:lpstr>
      <vt:lpstr>Depth Functions</vt:lpstr>
      <vt:lpstr>Depth Functions</vt:lpstr>
      <vt:lpstr>Depth Functions</vt:lpstr>
      <vt:lpstr>Existence of Low-Dimensional Adversarial Attacks</vt:lpstr>
      <vt:lpstr>Low dimensional Attacks</vt:lpstr>
      <vt:lpstr>Low dimensional Attacks</vt:lpstr>
      <vt:lpstr>Low dimensional Attacks</vt:lpstr>
      <vt:lpstr>Low dimensional Attacks</vt:lpstr>
      <vt:lpstr>Low dimensional Attacks</vt:lpstr>
      <vt:lpstr>Low dimensional Attacks</vt:lpstr>
      <vt:lpstr>Low dimensional Attacks</vt:lpstr>
      <vt:lpstr>Low dimensional Attacks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ie Volansky</dc:creator>
  <cp:lastModifiedBy>Microsoft Office User</cp:lastModifiedBy>
  <cp:revision>292</cp:revision>
  <cp:lastPrinted>2023-11-30T10:27:36Z</cp:lastPrinted>
  <dcterms:created xsi:type="dcterms:W3CDTF">2017-12-12T22:05:03Z</dcterms:created>
  <dcterms:modified xsi:type="dcterms:W3CDTF">2023-11-30T12:1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1D4C1BB470CB409830BF5F910AF911</vt:lpwstr>
  </property>
  <property fmtid="{D5CDD505-2E9C-101B-9397-08002B2CF9AE}" pid="3" name="ComplianceAssetId">
    <vt:lpwstr/>
  </property>
  <property fmtid="{D5CDD505-2E9C-101B-9397-08002B2CF9AE}" pid="4" name="_ExtendedDescription">
    <vt:lpwstr/>
  </property>
</Properties>
</file>